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3" r:id="rId6"/>
    <p:sldId id="2147476954" r:id="rId7"/>
    <p:sldId id="2147476955" r:id="rId8"/>
    <p:sldId id="2147476956" r:id="rId9"/>
    <p:sldId id="2147476957" r:id="rId10"/>
    <p:sldId id="2147476958" r:id="rId11"/>
    <p:sldId id="2147476959" r:id="rId12"/>
    <p:sldId id="2147476960" r:id="rId13"/>
    <p:sldId id="2147476961" r:id="rId14"/>
    <p:sldId id="2147476962" r:id="rId15"/>
    <p:sldId id="2147476963" r:id="rId16"/>
    <p:sldId id="2147476964" r:id="rId17"/>
    <p:sldId id="2147476965" r:id="rId18"/>
    <p:sldId id="2147476966" r:id="rId19"/>
    <p:sldId id="2147476967" r:id="rId20"/>
    <p:sldId id="2147476968" r:id="rId21"/>
    <p:sldId id="2147476969" r:id="rId22"/>
    <p:sldId id="2147476970" r:id="rId23"/>
    <p:sldId id="2147476971" r:id="rId24"/>
    <p:sldId id="2147476972" r:id="rId25"/>
    <p:sldId id="2147476973" r:id="rId26"/>
    <p:sldId id="2147476974" r:id="rId27"/>
    <p:sldId id="2147476975" r:id="rId28"/>
    <p:sldId id="2147476976" r:id="rId29"/>
    <p:sldId id="2147476977" r:id="rId30"/>
    <p:sldId id="2147476978" r:id="rId31"/>
    <p:sldId id="2147476979" r:id="rId32"/>
    <p:sldId id="2147476980" r:id="rId33"/>
    <p:sldId id="2147476981" r:id="rId34"/>
    <p:sldId id="2147476982" r:id="rId35"/>
    <p:sldId id="2147476983" r:id="rId36"/>
    <p:sldId id="2147476984" r:id="rId37"/>
    <p:sldId id="2147476985" r:id="rId38"/>
    <p:sldId id="2147476986" r:id="rId39"/>
    <p:sldId id="2147476987" r:id="rId40"/>
    <p:sldId id="2147476988" r:id="rId41"/>
    <p:sldId id="2147476989" r:id="rId42"/>
    <p:sldId id="2147476990" r:id="rId43"/>
    <p:sldId id="2147476991" r:id="rId44"/>
    <p:sldId id="2147476992" r:id="rId45"/>
    <p:sldId id="2147476993" r:id="rId46"/>
    <p:sldId id="2147476994" r:id="rId47"/>
    <p:sldId id="2147476995" r:id="rId48"/>
    <p:sldId id="2147476996" r:id="rId49"/>
    <p:sldId id="2147476997" r:id="rId50"/>
    <p:sldId id="2147476998" r:id="rId51"/>
    <p:sldId id="2147476999" r:id="rId52"/>
    <p:sldId id="2147477000" r:id="rId53"/>
    <p:sldId id="2147477001" r:id="rId54"/>
    <p:sldId id="2147477002" r:id="rId55"/>
    <p:sldId id="2147477003" r:id="rId56"/>
    <p:sldId id="2147477004" r:id="rId57"/>
    <p:sldId id="2147477005" r:id="rId58"/>
    <p:sldId id="2147477006" r:id="rId59"/>
    <p:sldId id="2147477007" r:id="rId60"/>
    <p:sldId id="2147477008" r:id="rId61"/>
    <p:sldId id="2147477009" r:id="rId62"/>
    <p:sldId id="2147477010" r:id="rId63"/>
    <p:sldId id="2147477011" r:id="rId64"/>
    <p:sldId id="2147477012" r:id="rId65"/>
    <p:sldId id="2147477013" r:id="rId66"/>
    <p:sldId id="2147477014" r:id="rId67"/>
    <p:sldId id="2147477015" r:id="rId68"/>
    <p:sldId id="2147477016" r:id="rId69"/>
    <p:sldId id="2147477017" r:id="rId70"/>
    <p:sldId id="2147477018" r:id="rId71"/>
    <p:sldId id="2147477019" r:id="rId72"/>
    <p:sldId id="2147477020" r:id="rId73"/>
    <p:sldId id="2147477021" r:id="rId74"/>
    <p:sldId id="2147477022" r:id="rId75"/>
    <p:sldId id="2147477023" r:id="rId76"/>
    <p:sldId id="2147477024" r:id="rId77"/>
    <p:sldId id="2147477025" r:id="rId78"/>
    <p:sldId id="2147477026" r:id="rId79"/>
    <p:sldId id="2147477027" r:id="rId80"/>
    <p:sldId id="2147477028" r:id="rId81"/>
    <p:sldId id="2147477029" r:id="rId82"/>
    <p:sldId id="2147477030" r:id="rId83"/>
    <p:sldId id="2147477031" r:id="rId84"/>
    <p:sldId id="2147477032" r:id="rId85"/>
    <p:sldId id="2147477033" r:id="rId86"/>
    <p:sldId id="2147477034" r:id="rId87"/>
    <p:sldId id="2147477035" r:id="rId88"/>
    <p:sldId id="2147477036" r:id="rId89"/>
    <p:sldId id="2147477037" r:id="rId90"/>
    <p:sldId id="2147477038" r:id="rId91"/>
    <p:sldId id="2147477039" r:id="rId92"/>
    <p:sldId id="2147477040" r:id="rId93"/>
    <p:sldId id="2147477041" r:id="rId94"/>
    <p:sldId id="2147477042" r:id="rId95"/>
    <p:sldId id="2147477043" r:id="rId96"/>
    <p:sldId id="2147477044" r:id="rId97"/>
    <p:sldId id="2147477045" r:id="rId98"/>
    <p:sldId id="2147477046" r:id="rId99"/>
    <p:sldId id="2147477047" r:id="rId100"/>
    <p:sldId id="2147477048" r:id="rId101"/>
    <p:sldId id="2147477049" r:id="rId102"/>
    <p:sldId id="2147477050" r:id="rId103"/>
    <p:sldId id="2147477051" r:id="rId104"/>
    <p:sldId id="2147477052" r:id="rId105"/>
    <p:sldId id="2147477053" r:id="rId106"/>
    <p:sldId id="2147477054" r:id="rId107"/>
    <p:sldId id="2147477055" r:id="rId108"/>
    <p:sldId id="2147477056" r:id="rId109"/>
    <p:sldId id="2147477057" r:id="rId110"/>
    <p:sldId id="2147477058" r:id="rId111"/>
    <p:sldId id="2147477059" r:id="rId112"/>
    <p:sldId id="2147477060" r:id="rId113"/>
    <p:sldId id="2147477061" r:id="rId114"/>
    <p:sldId id="2147477062" r:id="rId115"/>
    <p:sldId id="2147477063" r:id="rId116"/>
    <p:sldId id="2147477064" r:id="rId117"/>
    <p:sldId id="2147477065" r:id="rId118"/>
    <p:sldId id="2147477066" r:id="rId119"/>
    <p:sldId id="2147477067" r:id="rId120"/>
    <p:sldId id="2147477068" r:id="rId121"/>
    <p:sldId id="2147477069" r:id="rId122"/>
    <p:sldId id="2147477070" r:id="rId123"/>
    <p:sldId id="2147477071" r:id="rId124"/>
    <p:sldId id="2147477072" r:id="rId125"/>
    <p:sldId id="2147477073" r:id="rId126"/>
    <p:sldId id="2147477074" r:id="rId127"/>
    <p:sldId id="2147477075" r:id="rId128"/>
    <p:sldId id="2147477076" r:id="rId129"/>
    <p:sldId id="2147477077" r:id="rId130"/>
    <p:sldId id="2147477078" r:id="rId131"/>
    <p:sldId id="2147477079" r:id="rId132"/>
    <p:sldId id="2147477080" r:id="rId133"/>
    <p:sldId id="2147477081" r:id="rId134"/>
    <p:sldId id="2147477082" r:id="rId135"/>
    <p:sldId id="2147477083" r:id="rId136"/>
    <p:sldId id="2147477084" r:id="rId137"/>
    <p:sldId id="2147477085" r:id="rId138"/>
    <p:sldId id="2147477086" r:id="rId139"/>
    <p:sldId id="2147477087" r:id="rId140"/>
    <p:sldId id="2147477088" r:id="rId141"/>
    <p:sldId id="2147477089" r:id="rId142"/>
    <p:sldId id="2147477090" r:id="rId143"/>
    <p:sldId id="2147477091" r:id="rId144"/>
    <p:sldId id="2147477092" r:id="rId145"/>
    <p:sldId id="2147477093" r:id="rId146"/>
    <p:sldId id="2147477094" r:id="rId147"/>
    <p:sldId id="2147477095" r:id="rId148"/>
    <p:sldId id="2147477096"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939007B5-5BBF-4E8E-AC95-57ED51F86099}">
          <p14:sldIdLst>
            <p14:sldId id="2147476953"/>
            <p14:sldId id="2147476954"/>
            <p14:sldId id="2147476955"/>
            <p14:sldId id="2147476956"/>
          </p14:sldIdLst>
        </p14:section>
        <p14:section name="Brand Sourcing Analysis" id="{EC42375F-3E6F-4714-9286-67F2F5490B8D}">
          <p14:sldIdLst>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Lst>
        </p14:section>
        <p14:section name="Product Sourcing Analysis" id="{522CAD75-49E5-4225-8434-09BFC7C57192}">
          <p14:sldIdLst>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Lst>
        </p14:section>
        <p14:section name="Price Elasticity Curve" id="{69413BDB-F2D7-4540-AD89-41F8DC896637}">
          <p14:sldIdLst>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Lst>
        </p14:section>
        <p14:section name="Revenue Response Analysis" id="{DC7C2703-2BB0-487C-8B22-197CD564F004}">
          <p14:sldIdLst>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Lst>
        </p14:section>
        <p14:section name="Size Elasticity" id="{E6601334-CB8E-420D-92EE-D45ADDB2CF2A}">
          <p14:sldIdLst>
            <p14:sldId id="2147477092"/>
            <p14:sldId id="2147477093"/>
            <p14:sldId id="2147477094"/>
            <p14:sldId id="2147477095"/>
            <p14:sldId id="214747709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slide" Target="slides/slide139.xml"/><Relationship Id="rId145" Type="http://schemas.openxmlformats.org/officeDocument/2006/relationships/slide" Target="slides/slide140.xml"/><Relationship Id="rId146" Type="http://schemas.openxmlformats.org/officeDocument/2006/relationships/slide" Target="slides/slide141.xml"/><Relationship Id="rId147" Type="http://schemas.openxmlformats.org/officeDocument/2006/relationships/slide" Target="slides/slide142.xml"/><Relationship Id="rId148" Type="http://schemas.openxmlformats.org/officeDocument/2006/relationships/slide" Target="slides/slide143.xml"/><Relationship Id="rId149" Type="http://schemas.openxmlformats.org/officeDocument/2006/relationships/slide" Target="slides/slide144.xml"/><Relationship Id="rId150" Type="http://schemas.openxmlformats.org/officeDocument/2006/relationships/notesMaster" Target="notesMasters/notesMaster1.xml"/><Relationship Id="rId151" Type="http://schemas.openxmlformats.org/officeDocument/2006/relationships/presProps" Target="presProps.xml"/><Relationship Id="rId152" Type="http://schemas.openxmlformats.org/officeDocument/2006/relationships/viewProps" Target="viewProps.xml"/><Relationship Id="rId153" Type="http://schemas.openxmlformats.org/officeDocument/2006/relationships/theme" Target="theme/theme1.xml"/><Relationship Id="rId154" Type="http://schemas.openxmlformats.org/officeDocument/2006/relationships/tableStyles" Target="tableStyles.xml"/><Relationship Id="rId15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5</c:v>
                </c:pt>
                <c:pt idx="3">
                  <c:v>-0.5978805409323199</c:v>
                </c:pt>
                <c:pt idx="4">
                  <c:v>-1.5937328173380765</c:v>
                </c:pt>
                <c:pt idx="5">
                  <c:v>-1.7261963092372712</c:v>
                </c:pt>
                <c:pt idx="6">
                  <c:v>-0.6924670554858628</c:v>
                </c:pt>
                <c:pt idx="7">
                  <c:v>-0.9921652760238072</c:v>
                </c:pt>
                <c:pt idx="8">
                  <c:v>-1.2475584832552082</c:v>
                </c:pt>
                <c:pt idx="9">
                  <c:v>-2.3255702429900147</c:v>
                </c:pt>
                <c:pt idx="10">
                  <c:v>-1.9319533657228816</c:v>
                </c:pt>
                <c:pt idx="11">
                  <c:v>-2.320534821779261</c:v>
                </c:pt>
                <c:pt idx="12">
                  <c:v>-0.9947427487354373</c:v>
                </c:pt>
                <c:pt idx="13">
                  <c:v>-2.358039757655883</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c:v>
                </c:pt>
                <c:pt idx="2">
                  <c:v>-1.298921919123508</c:v>
                </c:pt>
                <c:pt idx="3">
                  <c:v>-1.975555267252938</c:v>
                </c:pt>
                <c:pt idx="4">
                  <c:v>-1.1187926942460193</c:v>
                </c:pt>
                <c:pt idx="5">
                  <c:v>-1.9069465395787533</c:v>
                </c:pt>
                <c:pt idx="6">
                  <c:v>-0.5780581773705367</c:v>
                </c:pt>
                <c:pt idx="7">
                  <c:v>-0.9922690645863588</c:v>
                </c:pt>
                <c:pt idx="8">
                  <c:v>-1.2954597165825021</c:v>
                </c:pt>
                <c:pt idx="9">
                  <c:v>-1.8229064242910398</c:v>
                </c:pt>
                <c:pt idx="10">
                  <c:v>-1.0826881318730208</c:v>
                </c:pt>
                <c:pt idx="11">
                  <c:v>-0.8735353105573624</c:v>
                </c:pt>
                <c:pt idx="12">
                  <c:v>-0.6354649039367257</c:v>
                </c:pt>
                <c:pt idx="13">
                  <c:v>-0.6795730753299175</c:v>
                </c:pt>
                <c:pt idx="14">
                  <c:v>-0.8717296320754538</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3.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2.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9</c:v>
                </c:pt>
                <c:pt idx="1">
                  <c:v>0.28374123346161434</c:v>
                </c:pt>
                <c:pt idx="2">
                  <c:v>0.10557060063496233</c:v>
                </c:pt>
                <c:pt idx="3">
                  <c:v>0.09491050545879345</c:v>
                </c:pt>
                <c:pt idx="4">
                  <c:v>0.02098521744921193</c:v>
                </c:pt>
                <c:pt idx="5">
                  <c:v>0.018737543987285086</c:v>
                </c:pt>
                <c:pt idx="6">
                  <c:v>0.010787648747206753</c:v>
                </c:pt>
                <c:pt idx="7">
                  <c:v>0.010250546869451874</c:v>
                </c:pt>
                <c:pt idx="8">
                  <c:v>0.007072292155483464</c:v>
                </c:pt>
                <c:pt idx="9">
                  <c:v>0.0065768476710323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0.08604255153644906</c:v>
                </c:pt>
                <c:pt idx="3">
                  <c:v>0.057736168093787156</c:v>
                </c:pt>
                <c:pt idx="4">
                  <c:v>0.05752045031962401</c:v>
                </c:pt>
                <c:pt idx="5">
                  <c:v>0.05559581043577178</c:v>
                </c:pt>
                <c:pt idx="6">
                  <c:v>0.04235163913531427</c:v>
                </c:pt>
                <c:pt idx="7">
                  <c:v>0.041772710463290647</c:v>
                </c:pt>
                <c:pt idx="8">
                  <c:v>0.031816554768427936</c:v>
                </c:pt>
                <c:pt idx="9">
                  <c:v>0.030898235891516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0.09353872820680488</c:v>
                </c:pt>
                <c:pt idx="1">
                  <c:v>0.06235912525782298</c:v>
                </c:pt>
                <c:pt idx="2">
                  <c:v>0.05884748535754132</c:v>
                </c:pt>
                <c:pt idx="3">
                  <c:v>0.05419677659473695</c:v>
                </c:pt>
                <c:pt idx="4">
                  <c:v>0.04662742381777138</c:v>
                </c:pt>
                <c:pt idx="5">
                  <c:v>0.0463764679465203</c:v>
                </c:pt>
                <c:pt idx="6">
                  <c:v>0.04194820840338584</c:v>
                </c:pt>
                <c:pt idx="7">
                  <c:v>0.03964865192969215</c:v>
                </c:pt>
                <c:pt idx="8">
                  <c:v>0.037150711202342694</c:v>
                </c:pt>
                <c:pt idx="9">
                  <c:v>0.034011966117272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0.06147932939783644</c:v>
                </c:pt>
                <c:pt idx="2">
                  <c:v>0.05973875799136241</c:v>
                </c:pt>
                <c:pt idx="3">
                  <c:v>0.050068014527423786</c:v>
                </c:pt>
                <c:pt idx="4">
                  <c:v>0.04573402022106155</c:v>
                </c:pt>
                <c:pt idx="5">
                  <c:v>0.04477393819537696</c:v>
                </c:pt>
                <c:pt idx="6">
                  <c:v>0.044386468820124106</c:v>
                </c:pt>
                <c:pt idx="7">
                  <c:v>0.04305624813705171</c:v>
                </c:pt>
                <c:pt idx="8">
                  <c:v>0.04209248507403749</c:v>
                </c:pt>
                <c:pt idx="9">
                  <c:v>0.0325819003120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0.0718985941271379</c:v>
                </c:pt>
                <c:pt idx="1">
                  <c:v>0.049823667482692666</c:v>
                </c:pt>
                <c:pt idx="2">
                  <c:v>0.04602588852654646</c:v>
                </c:pt>
                <c:pt idx="3">
                  <c:v>0.04595100019334344</c:v>
                </c:pt>
                <c:pt idx="4">
                  <c:v>0.04553327302398848</c:v>
                </c:pt>
                <c:pt idx="5">
                  <c:v>0.03761565973003901</c:v>
                </c:pt>
                <c:pt idx="6">
                  <c:v>0.03677778768938645</c:v>
                </c:pt>
                <c:pt idx="7">
                  <c:v>0.02954441264433474</c:v>
                </c:pt>
                <c:pt idx="8">
                  <c:v>0.02684151839495587</c:v>
                </c:pt>
                <c:pt idx="9">
                  <c:v>0.026734062963682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0.07849959713330668</c:v>
                </c:pt>
                <c:pt idx="1">
                  <c:v>0.054860112256719815</c:v>
                </c:pt>
                <c:pt idx="2">
                  <c:v>0.04935252828958694</c:v>
                </c:pt>
                <c:pt idx="3">
                  <c:v>0.04623888178488424</c:v>
                </c:pt>
                <c:pt idx="4">
                  <c:v>0.03670336076075956</c:v>
                </c:pt>
                <c:pt idx="5">
                  <c:v>0.035184225500401074</c:v>
                </c:pt>
                <c:pt idx="6">
                  <c:v>0.03459649521355153</c:v>
                </c:pt>
                <c:pt idx="7">
                  <c:v>0.03405890609820876</c:v>
                </c:pt>
                <c:pt idx="8">
                  <c:v>0.02964413816319003</c:v>
                </c:pt>
                <c:pt idx="9">
                  <c:v>0.02649202289174755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0.0629485845213447</c:v>
                </c:pt>
                <c:pt idx="1">
                  <c:v>0.053268850745401296</c:v>
                </c:pt>
                <c:pt idx="2">
                  <c:v>0.04265833407389079</c:v>
                </c:pt>
                <c:pt idx="3">
                  <c:v>0.04184088729248222</c:v>
                </c:pt>
                <c:pt idx="4">
                  <c:v>0.04130660950592514</c:v>
                </c:pt>
                <c:pt idx="5">
                  <c:v>0.04106530464723287</c:v>
                </c:pt>
                <c:pt idx="6">
                  <c:v>0.03670832774280554</c:v>
                </c:pt>
                <c:pt idx="7">
                  <c:v>0.03554392338546799</c:v>
                </c:pt>
                <c:pt idx="8">
                  <c:v>0.03538111479046115</c:v>
                </c:pt>
                <c:pt idx="9">
                  <c:v>0.0314445070167785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0.06362236882196229</c:v>
                </c:pt>
                <c:pt idx="1">
                  <c:v>0.05892265197198254</c:v>
                </c:pt>
                <c:pt idx="2">
                  <c:v>0.049749246911446915</c:v>
                </c:pt>
                <c:pt idx="3">
                  <c:v>0.04127744482492911</c:v>
                </c:pt>
                <c:pt idx="4">
                  <c:v>0.03390915910253461</c:v>
                </c:pt>
                <c:pt idx="5">
                  <c:v>0.03332026850616485</c:v>
                </c:pt>
                <c:pt idx="6">
                  <c:v>0.032032099982765086</c:v>
                </c:pt>
                <c:pt idx="7">
                  <c:v>0.02965614379475125</c:v>
                </c:pt>
                <c:pt idx="8">
                  <c:v>0.026733445349503317</c:v>
                </c:pt>
                <c:pt idx="9">
                  <c:v>0.02494891391562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0.09766611893311955</c:v>
                </c:pt>
                <c:pt idx="2">
                  <c:v>0.08381220785781235</c:v>
                </c:pt>
                <c:pt idx="3">
                  <c:v>0.06961280667264569</c:v>
                </c:pt>
                <c:pt idx="4">
                  <c:v>0.0625341818469661</c:v>
                </c:pt>
                <c:pt idx="5">
                  <c:v>0.058622286555361856</c:v>
                </c:pt>
                <c:pt idx="6">
                  <c:v>0.041198331069324134</c:v>
                </c:pt>
                <c:pt idx="7">
                  <c:v>0.03690632385426732</c:v>
                </c:pt>
                <c:pt idx="8">
                  <c:v>0.03318927081520263</c:v>
                </c:pt>
                <c:pt idx="9">
                  <c:v>0.0330746605264338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0.09414981923181112</c:v>
                </c:pt>
                <c:pt idx="2">
                  <c:v>0.08322646725133051</c:v>
                </c:pt>
                <c:pt idx="3">
                  <c:v>0.06980592255012567</c:v>
                </c:pt>
                <c:pt idx="4">
                  <c:v>0.06741607409859993</c:v>
                </c:pt>
                <c:pt idx="5">
                  <c:v>0.055224880028919</c:v>
                </c:pt>
                <c:pt idx="6">
                  <c:v>0.05324528134632912</c:v>
                </c:pt>
                <c:pt idx="7">
                  <c:v>0.039167921841291226</c:v>
                </c:pt>
                <c:pt idx="8">
                  <c:v>0.038804505158195585</c:v>
                </c:pt>
                <c:pt idx="9">
                  <c:v>0.0386558209774650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0.08570438279981887</c:v>
                </c:pt>
                <c:pt idx="1">
                  <c:v>0.07594480961935735</c:v>
                </c:pt>
                <c:pt idx="2">
                  <c:v>0.07050507217947845</c:v>
                </c:pt>
                <c:pt idx="3">
                  <c:v>0.06484183253651417</c:v>
                </c:pt>
                <c:pt idx="4">
                  <c:v>0.0609285664437587</c:v>
                </c:pt>
                <c:pt idx="5">
                  <c:v>0.054081861101219326</c:v>
                </c:pt>
                <c:pt idx="6">
                  <c:v>0.05141807943683433</c:v>
                </c:pt>
                <c:pt idx="7">
                  <c:v>0.04468724433195891</c:v>
                </c:pt>
                <c:pt idx="8">
                  <c:v>0.03732363853105561</c:v>
                </c:pt>
                <c:pt idx="9">
                  <c:v>0.0360099132794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0.06823298234910502</c:v>
                </c:pt>
                <c:pt idx="5">
                  <c:v>0.029739596618401764</c:v>
                </c:pt>
                <c:pt idx="6">
                  <c:v>0.025521236834335524</c:v>
                </c:pt>
                <c:pt idx="7">
                  <c:v>0.015647235790447887</c:v>
                </c:pt>
                <c:pt idx="8">
                  <c:v>0.011196608704418843</c:v>
                </c:pt>
                <c:pt idx="9">
                  <c:v>0.010998716588058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9264277153948385</c:v>
                </c:pt>
                <c:pt idx="1">
                  <c:v>0.086558273248948</c:v>
                </c:pt>
                <c:pt idx="2">
                  <c:v>0.07850940140296134</c:v>
                </c:pt>
                <c:pt idx="3">
                  <c:v>0.06925703318290977</c:v>
                </c:pt>
                <c:pt idx="4">
                  <c:v>0.06151594347054203</c:v>
                </c:pt>
                <c:pt idx="5">
                  <c:v>0.05123178409233601</c:v>
                </c:pt>
                <c:pt idx="6">
                  <c:v>0.04928875758642687</c:v>
                </c:pt>
                <c:pt idx="7">
                  <c:v>0.03742081280588955</c:v>
                </c:pt>
                <c:pt idx="8">
                  <c:v>0.03292495383082443</c:v>
                </c:pt>
                <c:pt idx="9">
                  <c:v>0.03095950983794112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0.09390818545076328</c:v>
                </c:pt>
                <c:pt idx="1">
                  <c:v>0.05863445581008242</c:v>
                </c:pt>
                <c:pt idx="2">
                  <c:v>0.05138341207833715</c:v>
                </c:pt>
                <c:pt idx="3">
                  <c:v>0.045940179417025453</c:v>
                </c:pt>
                <c:pt idx="4">
                  <c:v>0.04481747575423335</c:v>
                </c:pt>
                <c:pt idx="5">
                  <c:v>0.04363351693518335</c:v>
                </c:pt>
                <c:pt idx="6">
                  <c:v>0.04194134179395066</c:v>
                </c:pt>
                <c:pt idx="7">
                  <c:v>0.041403824748334005</c:v>
                </c:pt>
                <c:pt idx="8">
                  <c:v>0.038301016867297685</c:v>
                </c:pt>
                <c:pt idx="9">
                  <c:v>0.038101832842945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c:v>
                </c:pt>
                <c:pt idx="1">
                  <c:v>0.07153117004196632</c:v>
                </c:pt>
                <c:pt idx="2">
                  <c:v>0.05450699255554437</c:v>
                </c:pt>
                <c:pt idx="3">
                  <c:v>0.05367961056165189</c:v>
                </c:pt>
                <c:pt idx="4">
                  <c:v>0.05237055879540642</c:v>
                </c:pt>
                <c:pt idx="5">
                  <c:v>0.051287177872226905</c:v>
                </c:pt>
                <c:pt idx="6">
                  <c:v>0.04828636440267289</c:v>
                </c:pt>
                <c:pt idx="7">
                  <c:v>0.04508372357857877</c:v>
                </c:pt>
                <c:pt idx="8">
                  <c:v>0.03493515306462497</c:v>
                </c:pt>
                <c:pt idx="9">
                  <c:v>0.0319032797272756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0.08415300649558376</c:v>
                </c:pt>
                <c:pt idx="2">
                  <c:v>0.066799781841196</c:v>
                </c:pt>
                <c:pt idx="3">
                  <c:v>0.05336575652450253</c:v>
                </c:pt>
                <c:pt idx="4">
                  <c:v>0.050042720761634164</c:v>
                </c:pt>
                <c:pt idx="5">
                  <c:v>0.047282615203144175</c:v>
                </c:pt>
                <c:pt idx="6">
                  <c:v>0.046086988989432934</c:v>
                </c:pt>
                <c:pt idx="7">
                  <c:v>0.0434261521791996</c:v>
                </c:pt>
                <c:pt idx="8">
                  <c:v>0.04141102526449344</c:v>
                </c:pt>
                <c:pt idx="9">
                  <c:v>0.041372275846965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0.08704212407625529</c:v>
                </c:pt>
                <c:pt idx="1">
                  <c:v>0.060753595950810084</c:v>
                </c:pt>
                <c:pt idx="2">
                  <c:v>0.054942389045264266</c:v>
                </c:pt>
                <c:pt idx="3">
                  <c:v>0.04777550888017385</c:v>
                </c:pt>
                <c:pt idx="4">
                  <c:v>0.046224839800330764</c:v>
                </c:pt>
                <c:pt idx="5">
                  <c:v>0.042702368601619065</c:v>
                </c:pt>
                <c:pt idx="6">
                  <c:v>0.042337856296963496</c:v>
                </c:pt>
                <c:pt idx="7">
                  <c:v>0.04111364765573509</c:v>
                </c:pt>
                <c:pt idx="8">
                  <c:v>0.0349800741796118</c:v>
                </c:pt>
                <c:pt idx="9">
                  <c:v>0.028062656032476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0.0549198622833275</c:v>
                </c:pt>
                <c:pt idx="1">
                  <c:v>0.05475527608271889</c:v>
                </c:pt>
                <c:pt idx="2">
                  <c:v>0.05269282906710335</c:v>
                </c:pt>
                <c:pt idx="3">
                  <c:v>0.04943623519307198</c:v>
                </c:pt>
                <c:pt idx="4">
                  <c:v>0.04019959034995226</c:v>
                </c:pt>
                <c:pt idx="5">
                  <c:v>0.03013044431164573</c:v>
                </c:pt>
                <c:pt idx="6">
                  <c:v>0.02776422658942426</c:v>
                </c:pt>
                <c:pt idx="7">
                  <c:v>0.027755089113809674</c:v>
                </c:pt>
                <c:pt idx="8">
                  <c:v>0.02595134846467759</c:v>
                </c:pt>
                <c:pt idx="9">
                  <c:v>0.023125074211302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0.05723175661120437</c:v>
                </c:pt>
                <c:pt idx="1">
                  <c:v>0.05678064636920991</c:v>
                </c:pt>
                <c:pt idx="2">
                  <c:v>0.043747619548523506</c:v>
                </c:pt>
                <c:pt idx="3">
                  <c:v>0.03678917620518485</c:v>
                </c:pt>
                <c:pt idx="4">
                  <c:v>0.03215894734448579</c:v>
                </c:pt>
                <c:pt idx="5">
                  <c:v>0.02985153033758363</c:v>
                </c:pt>
                <c:pt idx="6">
                  <c:v>0.029088700252757026</c:v>
                </c:pt>
                <c:pt idx="7">
                  <c:v>0.02881618490764876</c:v>
                </c:pt>
                <c:pt idx="8">
                  <c:v>0.02802190837200895</c:v>
                </c:pt>
                <c:pt idx="9">
                  <c:v>0.0278182995948072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0.09813045493719692</c:v>
                </c:pt>
                <c:pt idx="1">
                  <c:v>0.05478774722100378</c:v>
                </c:pt>
                <c:pt idx="2">
                  <c:v>0.05272612153843337</c:v>
                </c:pt>
                <c:pt idx="3">
                  <c:v>0.050988288940383084</c:v>
                </c:pt>
                <c:pt idx="4">
                  <c:v>0.0468298904371796</c:v>
                </c:pt>
                <c:pt idx="5">
                  <c:v>0.045123795382211604</c:v>
                </c:pt>
                <c:pt idx="6">
                  <c:v>0.044579561315592466</c:v>
                </c:pt>
                <c:pt idx="7">
                  <c:v>0.042421174808452124</c:v>
                </c:pt>
                <c:pt idx="8">
                  <c:v>0.03873238608691311</c:v>
                </c:pt>
                <c:pt idx="9">
                  <c:v>0.037662539468319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2</c:v>
                </c:pt>
                <c:pt idx="1">
                  <c:v>0.062398864862006284</c:v>
                </c:pt>
                <c:pt idx="2">
                  <c:v>0.05636501371203348</c:v>
                </c:pt>
                <c:pt idx="3">
                  <c:v>0.056065774127455656</c:v>
                </c:pt>
                <c:pt idx="4">
                  <c:v>0.053810858142325634</c:v>
                </c:pt>
                <c:pt idx="5">
                  <c:v>0.050840016147087455</c:v>
                </c:pt>
                <c:pt idx="6">
                  <c:v>0.04481479449853771</c:v>
                </c:pt>
                <c:pt idx="7">
                  <c:v>0.04265600655762062</c:v>
                </c:pt>
                <c:pt idx="8">
                  <c:v>0.037016915785615154</c:v>
                </c:pt>
                <c:pt idx="9">
                  <c:v>0.034785868454902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c:v>
                </c:pt>
                <c:pt idx="1">
                  <c:v>0.05224474470997952</c:v>
                </c:pt>
                <c:pt idx="2">
                  <c:v>0.049907311780202364</c:v>
                </c:pt>
                <c:pt idx="3">
                  <c:v>0.049412003777519996</c:v>
                </c:pt>
                <c:pt idx="4">
                  <c:v>0.046156966025197754</c:v>
                </c:pt>
                <c:pt idx="5">
                  <c:v>0.04173564349284992</c:v>
                </c:pt>
                <c:pt idx="6">
                  <c:v>0.038059754806678156</c:v>
                </c:pt>
                <c:pt idx="7">
                  <c:v>0.037430585692046</c:v>
                </c:pt>
                <c:pt idx="8">
                  <c:v>0.03444333610564848</c:v>
                </c:pt>
                <c:pt idx="9">
                  <c:v>0.03442117075294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3</c:v>
                </c:pt>
                <c:pt idx="1">
                  <c:v>0.2878762983484517</c:v>
                </c:pt>
                <c:pt idx="2">
                  <c:v>0.15488659997386758</c:v>
                </c:pt>
                <c:pt idx="3">
                  <c:v>0.12679984851282905</c:v>
                </c:pt>
                <c:pt idx="4">
                  <c:v>0.07999024983194207</c:v>
                </c:pt>
                <c:pt idx="5">
                  <c:v>0.019292349234886628</c:v>
                </c:pt>
                <c:pt idx="6">
                  <c:v>0.017081103847148095</c:v>
                </c:pt>
                <c:pt idx="7">
                  <c:v>0.00614974860442259</c:v>
                </c:pt>
                <c:pt idx="8">
                  <c:v>0.004523262237608266</c:v>
                </c:pt>
                <c:pt idx="9">
                  <c:v>0.0038911747213030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0.05298862005248876</c:v>
                </c:pt>
                <c:pt idx="2">
                  <c:v>0.05183214372995398</c:v>
                </c:pt>
                <c:pt idx="3">
                  <c:v>0.050571651131334466</c:v>
                </c:pt>
                <c:pt idx="4">
                  <c:v>0.04716566663396987</c:v>
                </c:pt>
                <c:pt idx="5">
                  <c:v>0.04592940508450342</c:v>
                </c:pt>
                <c:pt idx="6">
                  <c:v>0.04235820349009598</c:v>
                </c:pt>
                <c:pt idx="7">
                  <c:v>0.03950393861444685</c:v>
                </c:pt>
                <c:pt idx="8">
                  <c:v>0.0374521699101853</c:v>
                </c:pt>
                <c:pt idx="9">
                  <c:v>0.03410827535114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0.09502975017314241</c:v>
                </c:pt>
                <c:pt idx="1">
                  <c:v>0.06552980009514497</c:v>
                </c:pt>
                <c:pt idx="2">
                  <c:v>0.05867354818460416</c:v>
                </c:pt>
                <c:pt idx="3">
                  <c:v>0.05708199530974055</c:v>
                </c:pt>
                <c:pt idx="4">
                  <c:v>0.05036732734676439</c:v>
                </c:pt>
                <c:pt idx="5">
                  <c:v>0.043654316653704034</c:v>
                </c:pt>
                <c:pt idx="6">
                  <c:v>0.04107337257001222</c:v>
                </c:pt>
                <c:pt idx="7">
                  <c:v>0.03952951766607809</c:v>
                </c:pt>
                <c:pt idx="8">
                  <c:v>0.03742598902198822</c:v>
                </c:pt>
                <c:pt idx="9">
                  <c:v>0.03290727873277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09634483677218852</c:v>
                </c:pt>
                <c:pt idx="1">
                  <c:v>0.06924832910090375</c:v>
                </c:pt>
                <c:pt idx="2">
                  <c:v>0.05925469010164075</c:v>
                </c:pt>
                <c:pt idx="3">
                  <c:v>0.05433403367276152</c:v>
                </c:pt>
                <c:pt idx="4">
                  <c:v>0.04418946121475156</c:v>
                </c:pt>
                <c:pt idx="5">
                  <c:v>0.04056092871475674</c:v>
                </c:pt>
                <c:pt idx="6">
                  <c:v>0.04017619848033814</c:v>
                </c:pt>
                <c:pt idx="7">
                  <c:v>0.04006569071549862</c:v>
                </c:pt>
                <c:pt idx="8">
                  <c:v>0.031764375755295116</c:v>
                </c:pt>
                <c:pt idx="9">
                  <c:v>0.0311422245459857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0.061409411353033766</c:v>
                </c:pt>
                <c:pt idx="1">
                  <c:v>0.06085254028371995</c:v>
                </c:pt>
                <c:pt idx="2">
                  <c:v>0.05435488144991911</c:v>
                </c:pt>
                <c:pt idx="3">
                  <c:v>0.04929412432467608</c:v>
                </c:pt>
                <c:pt idx="4">
                  <c:v>0.045604154061099814</c:v>
                </c:pt>
                <c:pt idx="5">
                  <c:v>0.043230003848299205</c:v>
                </c:pt>
                <c:pt idx="6">
                  <c:v>0.042849251484285596</c:v>
                </c:pt>
                <c:pt idx="7">
                  <c:v>0.040286789756476954</c:v>
                </c:pt>
                <c:pt idx="8">
                  <c:v>0.031588729670117006</c:v>
                </c:pt>
                <c:pt idx="9">
                  <c:v>0.0302749570971627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0.06862964515521468</c:v>
                </c:pt>
                <c:pt idx="1">
                  <c:v>0.06230665773475773</c:v>
                </c:pt>
                <c:pt idx="2">
                  <c:v>0.04524637963680559</c:v>
                </c:pt>
                <c:pt idx="3">
                  <c:v>0.037368438109468854</c:v>
                </c:pt>
                <c:pt idx="4">
                  <c:v>0.03689243944745208</c:v>
                </c:pt>
                <c:pt idx="5">
                  <c:v>0.03313087934087655</c:v>
                </c:pt>
                <c:pt idx="6">
                  <c:v>0.03017236355410957</c:v>
                </c:pt>
                <c:pt idx="7">
                  <c:v>0.023063775450338376</c:v>
                </c:pt>
                <c:pt idx="8">
                  <c:v>0.02284098025452474</c:v>
                </c:pt>
                <c:pt idx="9">
                  <c:v>0.0224016128663222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0.07131425845019178</c:v>
                </c:pt>
                <c:pt idx="2">
                  <c:v>0.06642827177316642</c:v>
                </c:pt>
                <c:pt idx="3">
                  <c:v>0.051035861641843656</c:v>
                </c:pt>
                <c:pt idx="4">
                  <c:v>0.050071732443927874</c:v>
                </c:pt>
                <c:pt idx="5">
                  <c:v>0.049711772666455455</c:v>
                </c:pt>
                <c:pt idx="6">
                  <c:v>0.044612320786036296</c:v>
                </c:pt>
                <c:pt idx="7">
                  <c:v>0.04430587591400302</c:v>
                </c:pt>
                <c:pt idx="8">
                  <c:v>0.041452906129177715</c:v>
                </c:pt>
                <c:pt idx="9">
                  <c:v>0.0397117529411572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0.08541972567262227</c:v>
                </c:pt>
                <c:pt idx="1">
                  <c:v>0.06516264363449653</c:v>
                </c:pt>
                <c:pt idx="2">
                  <c:v>0.051570781315954224</c:v>
                </c:pt>
                <c:pt idx="3">
                  <c:v>0.04414091684638744</c:v>
                </c:pt>
                <c:pt idx="4">
                  <c:v>0.0429510679723875</c:v>
                </c:pt>
                <c:pt idx="5">
                  <c:v>0.04282664008859985</c:v>
                </c:pt>
                <c:pt idx="6">
                  <c:v>0.040263105327416636</c:v>
                </c:pt>
                <c:pt idx="7">
                  <c:v>0.037568630896837846</c:v>
                </c:pt>
                <c:pt idx="8">
                  <c:v>0.036857424471987345</c:v>
                </c:pt>
                <c:pt idx="9">
                  <c:v>0.031009991063142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0.07369754235991449</c:v>
                </c:pt>
                <c:pt idx="1">
                  <c:v>0.07066577343730104</c:v>
                </c:pt>
                <c:pt idx="2">
                  <c:v>0.06178987848006253</c:v>
                </c:pt>
                <c:pt idx="3">
                  <c:v>0.046846004916231594</c:v>
                </c:pt>
                <c:pt idx="4">
                  <c:v>0.04573247301465464</c:v>
                </c:pt>
                <c:pt idx="5">
                  <c:v>0.042788721742429855</c:v>
                </c:pt>
                <c:pt idx="6">
                  <c:v>0.03847744865120512</c:v>
                </c:pt>
                <c:pt idx="7">
                  <c:v>0.036480505622462585</c:v>
                </c:pt>
                <c:pt idx="8">
                  <c:v>0.03640772800688928</c:v>
                </c:pt>
                <c:pt idx="9">
                  <c:v>0.036177794672522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0.07355948371259674</c:v>
                </c:pt>
                <c:pt idx="1">
                  <c:v>0.06039339368197467</c:v>
                </c:pt>
                <c:pt idx="2">
                  <c:v>0.0596499429474516</c:v>
                </c:pt>
                <c:pt idx="3">
                  <c:v>0.05231452853404287</c:v>
                </c:pt>
                <c:pt idx="4">
                  <c:v>0.045761928603668206</c:v>
                </c:pt>
                <c:pt idx="5">
                  <c:v>0.04398879961834459</c:v>
                </c:pt>
                <c:pt idx="6">
                  <c:v>0.04075196761278855</c:v>
                </c:pt>
                <c:pt idx="7">
                  <c:v>0.03769835758926769</c:v>
                </c:pt>
                <c:pt idx="8">
                  <c:v>0.03590597214367674</c:v>
                </c:pt>
                <c:pt idx="9">
                  <c:v>0.033344358671050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0.09027241001003704</c:v>
                </c:pt>
                <c:pt idx="1">
                  <c:v>0.06454741178914425</c:v>
                </c:pt>
                <c:pt idx="2">
                  <c:v>0.06296041295270952</c:v>
                </c:pt>
                <c:pt idx="3">
                  <c:v>0.055209962417819</c:v>
                </c:pt>
                <c:pt idx="4">
                  <c:v>0.04289669060600772</c:v>
                </c:pt>
                <c:pt idx="5">
                  <c:v>0.041468473240440604</c:v>
                </c:pt>
                <c:pt idx="6">
                  <c:v>0.039862243532850346</c:v>
                </c:pt>
                <c:pt idx="7">
                  <c:v>0.03880700113194842</c:v>
                </c:pt>
                <c:pt idx="8">
                  <c:v>0.03703039585500973</c:v>
                </c:pt>
                <c:pt idx="9">
                  <c:v>0.029582205771433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0.045502259395599744</c:v>
                </c:pt>
                <c:pt idx="5">
                  <c:v>0.04455030551715009</c:v>
                </c:pt>
                <c:pt idx="6">
                  <c:v>0.03496766908220163</c:v>
                </c:pt>
                <c:pt idx="7">
                  <c:v>0.020832042089677937</c:v>
                </c:pt>
                <c:pt idx="8">
                  <c:v>0.017665664356039643</c:v>
                </c:pt>
                <c:pt idx="9">
                  <c:v>0.0129095806447373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91810128464725</c:v>
                </c:pt>
                <c:pt idx="1">
                  <c:v>0.060562738565084775</c:v>
                </c:pt>
                <c:pt idx="2">
                  <c:v>0.05729988898035481</c:v>
                </c:pt>
                <c:pt idx="3">
                  <c:v>0.04941142943027322</c:v>
                </c:pt>
                <c:pt idx="4">
                  <c:v>0.048526759266066914</c:v>
                </c:pt>
                <c:pt idx="5">
                  <c:v>0.045218448763221855</c:v>
                </c:pt>
                <c:pt idx="6">
                  <c:v>0.04200588179461517</c:v>
                </c:pt>
                <c:pt idx="7">
                  <c:v>0.033751803579275354</c:v>
                </c:pt>
                <c:pt idx="8">
                  <c:v>0.032186330493799625</c:v>
                </c:pt>
                <c:pt idx="9">
                  <c:v>0.0275488145009265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0.08960031785910613</c:v>
                </c:pt>
                <c:pt idx="1">
                  <c:v>0.0718943796451807</c:v>
                </c:pt>
                <c:pt idx="2">
                  <c:v>0.06902399621292847</c:v>
                </c:pt>
                <c:pt idx="3">
                  <c:v>0.0675116585705729</c:v>
                </c:pt>
                <c:pt idx="4">
                  <c:v>0.0647494164098694</c:v>
                </c:pt>
                <c:pt idx="5">
                  <c:v>0.05357242149808121</c:v>
                </c:pt>
                <c:pt idx="6">
                  <c:v>0.05112643738471587</c:v>
                </c:pt>
                <c:pt idx="7">
                  <c:v>0.04530205358286022</c:v>
                </c:pt>
                <c:pt idx="8">
                  <c:v>0.043978041918898717</c:v>
                </c:pt>
                <c:pt idx="9">
                  <c:v>0.038341801592143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8614513576152971</c:v>
                </c:pt>
                <c:pt idx="1">
                  <c:v>0.08287376924018434</c:v>
                </c:pt>
                <c:pt idx="2">
                  <c:v>0.08035318575238255</c:v>
                </c:pt>
                <c:pt idx="3">
                  <c:v>0.07353046239336468</c:v>
                </c:pt>
                <c:pt idx="4">
                  <c:v>0.06411176498473496</c:v>
                </c:pt>
                <c:pt idx="5">
                  <c:v>0.04938702786425412</c:v>
                </c:pt>
                <c:pt idx="6">
                  <c:v>0.04580276742103997</c:v>
                </c:pt>
                <c:pt idx="7">
                  <c:v>0.03972016509764359</c:v>
                </c:pt>
                <c:pt idx="8">
                  <c:v>0.03900444033887003</c:v>
                </c:pt>
                <c:pt idx="9">
                  <c:v>0.036687125735743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0.0736001709790224</c:v>
                </c:pt>
                <c:pt idx="1">
                  <c:v>0.04968974504738404</c:v>
                </c:pt>
                <c:pt idx="2">
                  <c:v>0.04793330296390788</c:v>
                </c:pt>
                <c:pt idx="3">
                  <c:v>0.04725903868415102</c:v>
                </c:pt>
                <c:pt idx="4">
                  <c:v>0.04555373571218244</c:v>
                </c:pt>
                <c:pt idx="5">
                  <c:v>0.04398734395941345</c:v>
                </c:pt>
                <c:pt idx="6">
                  <c:v>0.041479078379272706</c:v>
                </c:pt>
                <c:pt idx="7">
                  <c:v>0.04096086586063136</c:v>
                </c:pt>
                <c:pt idx="8">
                  <c:v>0.0385486047736135</c:v>
                </c:pt>
                <c:pt idx="9">
                  <c:v>0.036236674214406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0.07107899913058709</c:v>
                </c:pt>
                <c:pt idx="1">
                  <c:v>0.054352890262947116</c:v>
                </c:pt>
                <c:pt idx="2">
                  <c:v>0.05303946542792923</c:v>
                </c:pt>
                <c:pt idx="3">
                  <c:v>0.05296107854327362</c:v>
                </c:pt>
                <c:pt idx="4">
                  <c:v>0.043642842615745914</c:v>
                </c:pt>
                <c:pt idx="5">
                  <c:v>0.03721340046185322</c:v>
                </c:pt>
                <c:pt idx="6">
                  <c:v>0.036040931349411325</c:v>
                </c:pt>
                <c:pt idx="7">
                  <c:v>0.034850771430596166</c:v>
                </c:pt>
                <c:pt idx="8">
                  <c:v>0.0344307636073984</c:v>
                </c:pt>
                <c:pt idx="9">
                  <c:v>0.0297698971478553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7</c:v>
                </c:pt>
                <c:pt idx="1">
                  <c:v>0.2729182872980683</c:v>
                </c:pt>
                <c:pt idx="2">
                  <c:v>0.0</c:v>
                </c:pt>
                <c:pt idx="3">
                  <c:v>-0.2350327755122925</c:v>
                </c:pt>
                <c:pt idx="4">
                  <c:v>-0.275851906965959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0.07200636432201254</c:v>
                </c:pt>
                <c:pt idx="2">
                  <c:v>0.0</c:v>
                </c:pt>
                <c:pt idx="3">
                  <c:v>-0.17885854584987304</c:v>
                </c:pt>
                <c:pt idx="4">
                  <c:v>-0.255096434609000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2</c:v>
                </c:pt>
                <c:pt idx="2">
                  <c:v>0.0</c:v>
                </c:pt>
                <c:pt idx="3">
                  <c:v>-0.12938159167125093</c:v>
                </c:pt>
                <c:pt idx="4">
                  <c:v>-0.353520837190461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c:v>
                </c:pt>
                <c:pt idx="1">
                  <c:v>0.3832111219871953</c:v>
                </c:pt>
                <c:pt idx="2">
                  <c:v>0.0</c:v>
                </c:pt>
                <c:pt idx="3">
                  <c:v>-0.20124164710353476</c:v>
                </c:pt>
                <c:pt idx="4">
                  <c:v>-0.43062377707555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75.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1</c:v>
                </c:pt>
                <c:pt idx="1">
                  <c:v>0.2932914077251358</c:v>
                </c:pt>
                <c:pt idx="2">
                  <c:v>0.0</c:v>
                </c:pt>
                <c:pt idx="3">
                  <c:v>-0.249700778956528</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0.07865862633730476</c:v>
                </c:pt>
                <c:pt idx="2">
                  <c:v>0.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0"/>
          <c:min val="215.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0</c:v>
                </c:pt>
                <c:pt idx="3">
                  <c:v>-0.1606906870727348</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c:v>
                </c:pt>
                <c:pt idx="1">
                  <c:v>0.3716163644098919</c:v>
                </c:pt>
                <c:pt idx="2">
                  <c:v>0.0</c:v>
                </c:pt>
                <c:pt idx="3">
                  <c:v>-0.2134458589203979</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30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c:v>
                </c:pt>
                <c:pt idx="1">
                  <c:v>0.28858769074258833</c:v>
                </c:pt>
                <c:pt idx="2">
                  <c:v>0.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c:v>
                </c:pt>
                <c:pt idx="1">
                  <c:v>0.5642389603376752</c:v>
                </c:pt>
                <c:pt idx="2">
                  <c:v>0.0</c:v>
                </c:pt>
                <c:pt idx="3">
                  <c:v>-0.24218645762540023</c:v>
                </c:pt>
                <c:pt idx="4">
                  <c:v>-0.393622849033408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5.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c:v>
                </c:pt>
                <c:pt idx="1">
                  <c:v>0.23075001125061118</c:v>
                </c:pt>
                <c:pt idx="2">
                  <c:v>0.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0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0.0478612311708792</c:v>
                </c:pt>
                <c:pt idx="5">
                  <c:v>0.043049266030286054</c:v>
                </c:pt>
                <c:pt idx="6">
                  <c:v>0.04033332963831496</c:v>
                </c:pt>
                <c:pt idx="7">
                  <c:v>0.019447327271747816</c:v>
                </c:pt>
                <c:pt idx="8">
                  <c:v>0.018681757498649056</c:v>
                </c:pt>
                <c:pt idx="9">
                  <c:v>0.01508710970636398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6</c:v>
                </c:pt>
                <c:pt idx="1">
                  <c:v>0.17920957930221726</c:v>
                </c:pt>
                <c:pt idx="2">
                  <c:v>0.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4</c:v>
                </c:pt>
                <c:pt idx="1">
                  <c:v>0.12913152071260323</c:v>
                </c:pt>
                <c:pt idx="2">
                  <c:v>0.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0.08086683593076391</c:v>
                </c:pt>
                <c:pt idx="2">
                  <c:v>0.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0"/>
          <c:min val="12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27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0.098929481516619</c:v>
                </c:pt>
                <c:pt idx="2">
                  <c:v>0.0</c:v>
                </c:pt>
                <c:pt idx="3">
                  <c:v>-0.07984354101766843</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c:v>
                </c:pt>
                <c:pt idx="2">
                  <c:v>0.0</c:v>
                </c:pt>
                <c:pt idx="3">
                  <c:v>-0.0706653143288099</c:v>
                </c:pt>
                <c:pt idx="4">
                  <c:v>-0.129184813680375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1</c:v>
                </c:pt>
                <c:pt idx="1">
                  <c:v>0.14533139688754051</c:v>
                </c:pt>
                <c:pt idx="2">
                  <c:v>0.0</c:v>
                </c:pt>
                <c:pt idx="3">
                  <c:v>-0.08343590035611971</c:v>
                </c:pt>
                <c:pt idx="4">
                  <c:v>-0.1550470352876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5</c:v>
                </c:pt>
                <c:pt idx="1">
                  <c:v>0.16096699712974555</c:v>
                </c:pt>
                <c:pt idx="2">
                  <c:v>0.0</c:v>
                </c:pt>
                <c:pt idx="3">
                  <c:v>-0.0709289324728349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0"/>
          <c:min val="29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c:v>
                </c:pt>
                <c:pt idx="1">
                  <c:v>0.1009058182188674</c:v>
                </c:pt>
                <c:pt idx="2">
                  <c:v>0.0</c:v>
                </c:pt>
                <c:pt idx="3">
                  <c:v>-0.033060051499166764</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0.09089532929487454</c:v>
                </c:pt>
                <c:pt idx="2">
                  <c:v>0.0</c:v>
                </c:pt>
                <c:pt idx="3">
                  <c:v>-0.0589405555399690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c:v>
                </c:pt>
                <c:pt idx="1">
                  <c:v>0.18108097498086617</c:v>
                </c:pt>
                <c:pt idx="2">
                  <c:v>0.0</c:v>
                </c:pt>
                <c:pt idx="3">
                  <c:v>-0.09701113444479881</c:v>
                </c:pt>
                <c:pt idx="4">
                  <c:v>-0.147884406689024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0</c:v>
                </c:pt>
                <c:pt idx="3">
                  <c:v>-0.05589846044039591</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c:v>
                </c:pt>
                <c:pt idx="2">
                  <c:v>0.0</c:v>
                </c:pt>
                <c:pt idx="3">
                  <c:v>-0.18731641189675938</c:v>
                </c:pt>
                <c:pt idx="4">
                  <c:v>-0.30744170777683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0</c:v>
                </c:pt>
                <c:pt idx="3">
                  <c:v>-0.09619401261066528</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6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0</c:v>
                </c:pt>
                <c:pt idx="3">
                  <c:v>-0.09942518812029352</c:v>
                </c:pt>
                <c:pt idx="4">
                  <c:v>-0.2020730124285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8</c:v>
                </c:pt>
                <c:pt idx="1">
                  <c:v>0.2091708729945992</c:v>
                </c:pt>
                <c:pt idx="2">
                  <c:v>0.0</c:v>
                </c:pt>
                <c:pt idx="3">
                  <c:v>-0.09864924080851317</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7</c:v>
                </c:pt>
                <c:pt idx="1">
                  <c:v>0.41471970976056344</c:v>
                </c:pt>
                <c:pt idx="2">
                  <c:v>0.0</c:v>
                </c:pt>
                <c:pt idx="3">
                  <c:v>-0.22625675986954702</c:v>
                </c:pt>
                <c:pt idx="4">
                  <c:v>-0.367694328564778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6</c:v>
                </c:pt>
                <c:pt idx="1">
                  <c:v>0.3441235654933549</c:v>
                </c:pt>
                <c:pt idx="2">
                  <c:v>0.0</c:v>
                </c:pt>
                <c:pt idx="3">
                  <c:v>-0.1939620523593166</c:v>
                </c:pt>
                <c:pt idx="4">
                  <c:v>-0.32385434171248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1</c:v>
                </c:pt>
                <c:pt idx="1">
                  <c:v>0.21381183884260518</c:v>
                </c:pt>
                <c:pt idx="2">
                  <c:v>0.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c:v>
                </c:pt>
                <c:pt idx="1">
                  <c:v>0.276593638815923</c:v>
                </c:pt>
                <c:pt idx="2">
                  <c:v>0.0</c:v>
                </c:pt>
                <c:pt idx="3">
                  <c:v>-0.09803883754981806</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0.05822236421916709</c:v>
                </c:pt>
                <c:pt idx="2">
                  <c:v>0.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c:v>
                </c:pt>
                <c:pt idx="1">
                  <c:v>0.49558489716524023</c:v>
                </c:pt>
                <c:pt idx="2">
                  <c:v>0.0</c:v>
                </c:pt>
                <c:pt idx="3">
                  <c:v>-0.2702896518186915</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19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4</c:v>
                </c:pt>
                <c:pt idx="1">
                  <c:v>0.1701720597850743</c:v>
                </c:pt>
                <c:pt idx="2">
                  <c:v>0.11515522640911804</c:v>
                </c:pt>
                <c:pt idx="3">
                  <c:v>0.08983632393519618</c:v>
                </c:pt>
                <c:pt idx="4">
                  <c:v>0.08006120155348519</c:v>
                </c:pt>
                <c:pt idx="5">
                  <c:v>0.02998897451725705</c:v>
                </c:pt>
                <c:pt idx="6">
                  <c:v>0.027460647537233034</c:v>
                </c:pt>
                <c:pt idx="7">
                  <c:v>0.024023447018215117</c:v>
                </c:pt>
                <c:pt idx="8">
                  <c:v>0.018701302690732287</c:v>
                </c:pt>
                <c:pt idx="9">
                  <c:v>0.017876810161818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3</c:v>
                </c:pt>
                <c:pt idx="1">
                  <c:v>0.20317794469656345</c:v>
                </c:pt>
                <c:pt idx="2">
                  <c:v>0.0</c:v>
                </c:pt>
                <c:pt idx="3">
                  <c:v>-0.14605814917767412</c:v>
                </c:pt>
                <c:pt idx="4">
                  <c:v>-0.34438071845026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5.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c:v>
                </c:pt>
                <c:pt idx="1">
                  <c:v>0.2141366069549458</c:v>
                </c:pt>
                <c:pt idx="2">
                  <c:v>0.0</c:v>
                </c:pt>
                <c:pt idx="3">
                  <c:v>-0.12366987013302885</c:v>
                </c:pt>
                <c:pt idx="4">
                  <c:v>-0.20300410911126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0.0705872183785777</c:v>
                </c:pt>
                <c:pt idx="2">
                  <c:v>0.0</c:v>
                </c:pt>
                <c:pt idx="3">
                  <c:v>-0.08777935603639674</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9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0.06957495039942711</c:v>
                </c:pt>
                <c:pt idx="2">
                  <c:v>0.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c:v>
                </c:pt>
                <c:pt idx="1">
                  <c:v>0.1265585313386094</c:v>
                </c:pt>
                <c:pt idx="2">
                  <c:v>0.0</c:v>
                </c:pt>
                <c:pt idx="3">
                  <c:v>-0.07105943494155795</c:v>
                </c:pt>
                <c:pt idx="4">
                  <c:v>-0.158444307882372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3</c:v>
                </c:pt>
                <c:pt idx="1">
                  <c:v>0.21588253787560693</c:v>
                </c:pt>
                <c:pt idx="2">
                  <c:v>0.0</c:v>
                </c:pt>
                <c:pt idx="3">
                  <c:v>-0.14465389918988464</c:v>
                </c:pt>
                <c:pt idx="4">
                  <c:v>-0.32813636364017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3</c:v>
                </c:pt>
                <c:pt idx="1">
                  <c:v>0.2332108781166042</c:v>
                </c:pt>
                <c:pt idx="2">
                  <c:v>0.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6</c:v>
                </c:pt>
                <c:pt idx="1">
                  <c:v>0.15522165795249585</c:v>
                </c:pt>
                <c:pt idx="2">
                  <c:v>0.0</c:v>
                </c:pt>
                <c:pt idx="3">
                  <c:v>-0.08219480679878206</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0"/>
          <c:min val="29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3</c:v>
                </c:pt>
                <c:pt idx="1">
                  <c:v>0.25042910554079983</c:v>
                </c:pt>
                <c:pt idx="2">
                  <c:v>0.0</c:v>
                </c:pt>
                <c:pt idx="3">
                  <c:v>-0.13094053702016548</c:v>
                </c:pt>
                <c:pt idx="4">
                  <c:v>-0.217882268478811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9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0.09897608429497279</c:v>
                </c:pt>
                <c:pt idx="2">
                  <c:v>0.0</c:v>
                </c:pt>
                <c:pt idx="3">
                  <c:v>-0.06904607026783428</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0"/>
          <c:min val="260.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B$2:$B$19</c:f>
              <c:numCache>
                <c:formatCode>General</c:formatCode>
                <c:ptCount val="18"/>
                <c:pt idx="0">
                  <c:v>132.835423588679</c:v>
                </c:pt>
                <c:pt idx="1">
                  <c:v>130.94231443807277</c:v>
                </c:pt>
                <c:pt idx="2">
                  <c:v>129.09497622571462</c:v>
                </c:pt>
                <c:pt idx="3">
                  <c:v>127.29182872980687</c:v>
                </c:pt>
                <c:pt idx="4">
                  <c:v>116.66384312506545</c:v>
                </c:pt>
                <c:pt idx="5">
                  <c:v>107.655486934891</c:v>
                </c:pt>
                <c:pt idx="6">
                  <c:v>100.0</c:v>
                </c:pt>
                <c:pt idx="7">
                  <c:v>93.46385798005727</c:v>
                </c:pt>
                <c:pt idx="8">
                  <c:v>87.84785717033974</c:v>
                </c:pt>
                <c:pt idx="9">
                  <c:v>84.60174074208066</c:v>
                </c:pt>
                <c:pt idx="10">
                  <c:v>81.65512995650388</c:v>
                </c:pt>
                <c:pt idx="11">
                  <c:v>78.96532785888837</c:v>
                </c:pt>
                <c:pt idx="12">
                  <c:v>76.49672244877077</c:v>
                </c:pt>
                <c:pt idx="13">
                  <c:v>75.65315324470801</c:v>
                </c:pt>
                <c:pt idx="14">
                  <c:v>74.82347601868436</c:v>
                </c:pt>
                <c:pt idx="15">
                  <c:v>74.00738866116764</c:v>
                </c:pt>
                <c:pt idx="16">
                  <c:v>73.20459591858494</c:v>
                </c:pt>
                <c:pt idx="17">
                  <c:v>72.414809303404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0</c:v>
                </c:pt>
                <c:pt idx="7">
                  <c:v>95.72857036596496</c:v>
                </c:pt>
                <c:pt idx="8">
                  <c:v>92.10558286338029</c:v>
                </c:pt>
                <c:pt idx="9">
                  <c:v>90.74973928359049</c:v>
                </c:pt>
                <c:pt idx="10">
                  <c:v>89.56548485302818</c:v>
                </c:pt>
                <c:pt idx="11">
                  <c:v>88.52664112333535</c:v>
                </c:pt>
                <c:pt idx="12">
                  <c:v>87.61102721301411</c:v>
                </c:pt>
                <c:pt idx="13">
                  <c:v>88.4777105101535</c:v>
                </c:pt>
                <c:pt idx="14">
                  <c:v>89.31988961135052</c:v>
                </c:pt>
                <c:pt idx="15">
                  <c:v>90.13822136768891</c:v>
                </c:pt>
                <c:pt idx="16">
                  <c:v>90.93334101454738</c:v>
                </c:pt>
                <c:pt idx="17">
                  <c:v>91.705862936567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0</c:v>
                </c:pt>
                <c:pt idx="7">
                  <c:v>97.13651309733771</c:v>
                </c:pt>
                <c:pt idx="8">
                  <c:v>94.75180676436577</c:v>
                </c:pt>
                <c:pt idx="9">
                  <c:v>94.57499744629862</c:v>
                </c:pt>
                <c:pt idx="10">
                  <c:v>94.48965818455687</c:v>
                </c:pt>
                <c:pt idx="11">
                  <c:v>94.4800103102883</c:v>
                </c:pt>
                <c:pt idx="12">
                  <c:v>94.5323194310779</c:v>
                </c:pt>
                <c:pt idx="13">
                  <c:v>96.46264714804104</c:v>
                </c:pt>
                <c:pt idx="14">
                  <c:v>98.3449379426172</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E$2:$E$19</c:f>
              <c:numCache>
                <c:formatCode>General</c:formatCode>
                <c:ptCount val="18"/>
                <c:pt idx="0">
                  <c:v>0.5556737175184062</c:v>
                </c:pt>
                <c:pt idx="1">
                  <c:v>0.5680161142540059</c:v>
                </c:pt>
                <c:pt idx="2">
                  <c:v>0.579691354409303</c:v>
                </c:pt>
                <c:pt idx="3">
                  <c:v>0.5907521082406373</c:v>
                </c:pt>
                <c:pt idx="4">
                  <c:v>0.6012456439267747</c:v>
                </c:pt>
                <c:pt idx="5">
                  <c:v>0.6112145028286053</c:v>
                </c:pt>
                <c:pt idx="6">
                  <c:v>0.6206970759303465</c:v>
                </c:pt>
                <c:pt idx="7">
                  <c:v>0.6297280979320052</c:v>
                </c:pt>
                <c:pt idx="8">
                  <c:v>0.6383390723987026</c:v>
                </c:pt>
                <c:pt idx="9">
                  <c:v>0.6465586389350958</c:v>
                </c:pt>
                <c:pt idx="10">
                  <c:v>0.6544128914032048</c:v>
                </c:pt>
                <c:pt idx="11">
                  <c:v>0.66192565463357</c:v>
                </c:pt>
                <c:pt idx="12">
                  <c:v>0.669118725811579</c:v>
                </c:pt>
                <c:pt idx="13">
                  <c:v>0.6760120856905044</c:v>
                </c:pt>
                <c:pt idx="14">
                  <c:v>0.6826240839417187</c:v>
                </c:pt>
                <c:pt idx="15">
                  <c:v>0.6889716022628843</c:v>
                </c:pt>
                <c:pt idx="16">
                  <c:v>0.6950701982969453</c:v>
                </c:pt>
                <c:pt idx="17">
                  <c:v>0.7009342329450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0</c:v>
                </c:pt>
                <c:pt idx="12">
                  <c:v>97.54189562696601</c:v>
                </c:pt>
                <c:pt idx="13">
                  <c:v>95.22710675254588</c:v>
                </c:pt>
                <c:pt idx="14">
                  <c:v>93.04271210749894</c:v>
                </c:pt>
                <c:pt idx="15">
                  <c:v>90.97726110693975</c:v>
                </c:pt>
                <c:pt idx="16">
                  <c:v>89.02058017122991</c:v>
                </c:pt>
                <c:pt idx="17">
                  <c:v>87.16360713737681</c:v>
                </c:pt>
                <c:pt idx="18">
                  <c:v>85.39824946713227</c:v>
                </c:pt>
                <c:pt idx="19">
                  <c:v>83.7172626061835</c:v>
                </c:pt>
                <c:pt idx="20">
                  <c:v>82.1141454150127</c:v>
                </c:pt>
                <c:pt idx="21">
                  <c:v>80.95244755723063</c:v>
                </c:pt>
                <c:pt idx="22">
                  <c:v>79.81629603668662</c:v>
                </c:pt>
                <c:pt idx="23">
                  <c:v>78.70484042573558</c:v>
                </c:pt>
                <c:pt idx="24">
                  <c:v>77.61727152428969</c:v>
                </c:pt>
                <c:pt idx="25">
                  <c:v>76.55281867346062</c:v>
                </c:pt>
                <c:pt idx="26">
                  <c:v>75.51074728086155</c:v>
                </c:pt>
                <c:pt idx="27">
                  <c:v>74.490356539099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98.73415926550702</c:v>
                </c:pt>
                <c:pt idx="1">
                  <c:v>98.11298876284104</c:v>
                </c:pt>
                <c:pt idx="2">
                  <c:v>97.86865865837811</c:v>
                </c:pt>
                <c:pt idx="3">
                  <c:v>97.66464635805016</c:v>
                </c:pt>
                <c:pt idx="4">
                  <c:v>97.49575523727073</c:v>
                </c:pt>
                <c:pt idx="5">
                  <c:v>97.79413319002548</c:v>
                </c:pt>
                <c:pt idx="6">
                  <c:v>98.1170910536425</c:v>
                </c:pt>
                <c:pt idx="7">
                  <c:v>98.4613150222995</c:v>
                </c:pt>
                <c:pt idx="8">
                  <c:v>98.82397636679372</c:v>
                </c:pt>
                <c:pt idx="9">
                  <c:v>99.20265194220823</c:v>
                </c:pt>
                <c:pt idx="10">
                  <c:v>99.59525875786743</c:v>
                </c:pt>
                <c:pt idx="11">
                  <c:v>100.0</c:v>
                </c:pt>
                <c:pt idx="12">
                  <c:v>98.7989304609202</c:v>
                </c:pt>
                <c:pt idx="13">
                  <c:v>97.68170234724688</c:v>
                </c:pt>
                <c:pt idx="14">
                  <c:v>96.64040629720328</c:v>
                </c:pt>
                <c:pt idx="15">
                  <c:v>95.66801802254552</c:v>
                </c:pt>
                <c:pt idx="16">
                  <c:v>94.75828610027433</c:v>
                </c:pt>
                <c:pt idx="17">
                  <c:v>93.9056352071298</c:v>
                </c:pt>
                <c:pt idx="18">
                  <c:v>93.10508261760593</c:v>
                </c:pt>
                <c:pt idx="19">
                  <c:v>92.35216606554985</c:v>
                </c:pt>
                <c:pt idx="20">
                  <c:v>91.64288133083367</c:v>
                </c:pt>
                <c:pt idx="21">
                  <c:v>91.39135189330443</c:v>
                </c:pt>
                <c:pt idx="22">
                  <c:v>91.13900754205096</c:v>
                </c:pt>
                <c:pt idx="23">
                  <c:v>90.88585579105337</c:v>
                </c:pt>
                <c:pt idx="24">
                  <c:v>90.63190834765422</c:v>
                </c:pt>
                <c:pt idx="25">
                  <c:v>90.3771806042433</c:v>
                </c:pt>
                <c:pt idx="26">
                  <c:v>90.12169117442374</c:v>
                </c:pt>
                <c:pt idx="27">
                  <c:v>89.865461470498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93.32775282903911</c:v>
                </c:pt>
                <c:pt idx="1">
                  <c:v>93.30154930343814</c:v>
                </c:pt>
                <c:pt idx="2">
                  <c:v>93.61353283908119</c:v>
                </c:pt>
                <c:pt idx="3">
                  <c:v>93.94592427149436</c:v>
                </c:pt>
                <c:pt idx="4">
                  <c:v>94.2951213018138</c:v>
                </c:pt>
                <c:pt idx="5">
                  <c:v>95.08074199743068</c:v>
                </c:pt>
                <c:pt idx="6">
                  <c:v>95.87968285062168</c:v>
                </c:pt>
                <c:pt idx="7">
                  <c:v>96.68948501810836</c:v>
                </c:pt>
                <c:pt idx="8">
                  <c:v>97.50806320404834</c:v>
                </c:pt>
                <c:pt idx="9">
                  <c:v>98.33364492308587</c:v>
                </c:pt>
                <c:pt idx="10">
                  <c:v>99.16472022227845</c:v>
                </c:pt>
                <c:pt idx="11">
                  <c:v>100.0</c:v>
                </c:pt>
                <c:pt idx="12">
                  <c:v>99.21942885778594</c:v>
                </c:pt>
                <c:pt idx="13">
                  <c:v>98.502553370134</c:v>
                </c:pt>
                <c:pt idx="14">
                  <c:v>97.84317985859305</c:v>
                </c:pt>
                <c:pt idx="15">
                  <c:v>97.23579761681196</c:v>
                </c:pt>
                <c:pt idx="16">
                  <c:v>96.67549504161653</c:v>
                </c:pt>
                <c:pt idx="17">
                  <c:v>96.15788676775936</c:v>
                </c:pt>
                <c:pt idx="18">
                  <c:v>95.6790503773367</c:v>
                </c:pt>
                <c:pt idx="19">
                  <c:v>95.23547140148858</c:v>
                </c:pt>
                <c:pt idx="20">
                  <c:v>94.82399548423649</c:v>
                </c:pt>
                <c:pt idx="21">
                  <c:v>94.87471347390034</c:v>
                </c:pt>
                <c:pt idx="22">
                  <c:v>94.91585268483935</c:v>
                </c:pt>
                <c:pt idx="23">
                  <c:v>94.94770522452737</c:v>
                </c:pt>
                <c:pt idx="24">
                  <c:v>94.97055514255993</c:v>
                </c:pt>
                <c:pt idx="25">
                  <c:v>94.98467864266848</c:v>
                </c:pt>
                <c:pt idx="26">
                  <c:v>94.99034428379437</c:v>
                </c:pt>
                <c:pt idx="27">
                  <c:v>94.987813172152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714333770372115</c:v>
                </c:pt>
                <c:pt idx="1">
                  <c:v>0.7185974454411878</c:v>
                </c:pt>
                <c:pt idx="2">
                  <c:v>0.7227357183023468</c:v>
                </c:pt>
                <c:pt idx="3">
                  <c:v>0.7267540412255012</c:v>
                </c:pt>
                <c:pt idx="4">
                  <c:v>0.7306575549222799</c:v>
                </c:pt>
                <c:pt idx="5">
                  <c:v>0.7344511104867547</c:v>
                </c:pt>
                <c:pt idx="6">
                  <c:v>0.7381392895077721</c:v>
                </c:pt>
                <c:pt idx="7">
                  <c:v>0.7417264225282135</c:v>
                </c:pt>
                <c:pt idx="8">
                  <c:v>0.7452166060075619</c:v>
                </c:pt>
                <c:pt idx="9">
                  <c:v>0.748613717927461</c:v>
                </c:pt>
                <c:pt idx="10">
                  <c:v>0.7519214321652576</c:v>
                </c:pt>
                <c:pt idx="11">
                  <c:v>0.7551432317475272</c:v>
                </c:pt>
                <c:pt idx="12">
                  <c:v>0.7582824210840972</c:v>
                </c:pt>
                <c:pt idx="13">
                  <c:v>0.7613421372729062</c:v>
                </c:pt>
                <c:pt idx="14">
                  <c:v>0.7643253605569947</c:v>
                </c:pt>
                <c:pt idx="15">
                  <c:v>0.7672349240069085</c:v>
                </c:pt>
                <c:pt idx="16">
                  <c:v>0.7700735224946291</c:v>
                </c:pt>
                <c:pt idx="17">
                  <c:v>0.7728437210187901</c:v>
                </c:pt>
                <c:pt idx="18">
                  <c:v>0.7755479624352332</c:v>
                </c:pt>
                <c:pt idx="19">
                  <c:v>0.7781885746418774</c:v>
                </c:pt>
                <c:pt idx="20">
                  <c:v>0.7807677772623207</c:v>
                </c:pt>
                <c:pt idx="21">
                  <c:v>0.783287687868501</c:v>
                </c:pt>
                <c:pt idx="22">
                  <c:v>0.7857503277790862</c:v>
                </c:pt>
                <c:pt idx="23">
                  <c:v>0.7881576274669616</c:v>
                </c:pt>
                <c:pt idx="24">
                  <c:v>0.7905114316062175</c:v>
                </c:pt>
                <c:pt idx="25">
                  <c:v>0.7928135037863691</c:v>
                </c:pt>
                <c:pt idx="26">
                  <c:v>0.7950655309191259</c:v>
                </c:pt>
                <c:pt idx="27">
                  <c:v>0.79726912736085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0</c:v>
                </c:pt>
                <c:pt idx="11">
                  <c:v>97.71921120368341</c:v>
                </c:pt>
                <c:pt idx="12">
                  <c:v>95.61554206778953</c:v>
                </c:pt>
                <c:pt idx="13">
                  <c:v>93.66588664220622</c:v>
                </c:pt>
                <c:pt idx="14">
                  <c:v>91.85082972366246</c:v>
                </c:pt>
                <c:pt idx="15">
                  <c:v>90.1540100191434</c:v>
                </c:pt>
                <c:pt idx="16">
                  <c:v>88.56159369706911</c:v>
                </c:pt>
                <c:pt idx="17">
                  <c:v>87.06184083287492</c:v>
                </c:pt>
                <c:pt idx="18">
                  <c:v>83.80986580801179</c:v>
                </c:pt>
                <c:pt idx="19">
                  <c:v>80.79077582171686</c:v>
                </c:pt>
                <c:pt idx="20">
                  <c:v>77.98352907295768</c:v>
                </c:pt>
                <c:pt idx="21">
                  <c:v>75.36918542867502</c:v>
                </c:pt>
                <c:pt idx="22">
                  <c:v>72.93066920867201</c:v>
                </c:pt>
                <c:pt idx="23">
                  <c:v>70.65256483071552</c:v>
                </c:pt>
                <c:pt idx="24">
                  <c:v>68.52094015356589</c:v>
                </c:pt>
                <c:pt idx="25">
                  <c:v>66.5231929068475</c:v>
                </c:pt>
                <c:pt idx="26">
                  <c:v>64.64791628095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23.19877497781427</c:v>
                </c:pt>
                <c:pt idx="1">
                  <c:v>119.90253077659246</c:v>
                </c:pt>
                <c:pt idx="2">
                  <c:v>117.32087702402359</c:v>
                </c:pt>
                <c:pt idx="3">
                  <c:v>115.2797731128182</c:v>
                </c:pt>
                <c:pt idx="4">
                  <c:v>111.24979288106441</c:v>
                </c:pt>
                <c:pt idx="5">
                  <c:v>107.89514398828246</c:v>
                </c:pt>
                <c:pt idx="6">
                  <c:v>105.0779667919274</c:v>
                </c:pt>
                <c:pt idx="7">
                  <c:v>102.69151390753318</c:v>
                </c:pt>
                <c:pt idx="8">
                  <c:v>101.72920030494011</c:v>
                </c:pt>
                <c:pt idx="9">
                  <c:v>100.83435732776375</c:v>
                </c:pt>
                <c:pt idx="10">
                  <c:v>100.0</c:v>
                </c:pt>
                <c:pt idx="11">
                  <c:v>99.11003307939544</c:v>
                </c:pt>
                <c:pt idx="12">
                  <c:v>98.33729828734785</c:v>
                </c:pt>
                <c:pt idx="13">
                  <c:v>97.66526222590204</c:v>
                </c:pt>
                <c:pt idx="14">
                  <c:v>97.07997811587454</c:v>
                </c:pt>
                <c:pt idx="15">
                  <c:v>96.5696659381145</c:v>
                </c:pt>
                <c:pt idx="16">
                  <c:v>96.12435810697654</c:v>
                </c:pt>
                <c:pt idx="17">
                  <c:v>95.73560240785788</c:v>
                </c:pt>
                <c:pt idx="18">
                  <c:v>93.35058991922274</c:v>
                </c:pt>
                <c:pt idx="19">
                  <c:v>91.1360339202349</c:v>
                </c:pt>
                <c:pt idx="20">
                  <c:v>89.07779322221704</c:v>
                </c:pt>
                <c:pt idx="21">
                  <c:v>87.16296764338321</c:v>
                </c:pt>
                <c:pt idx="22">
                  <c:v>85.37976832008151</c:v>
                </c:pt>
                <c:pt idx="23">
                  <c:v>83.71740700150563</c:v>
                </c:pt>
                <c:pt idx="24">
                  <c:v>82.16600134932274</c:v>
                </c:pt>
                <c:pt idx="25">
                  <c:v>80.71649335708551</c:v>
                </c:pt>
                <c:pt idx="26">
                  <c:v>79.36057832949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14.45203050395156</c:v>
                </c:pt>
                <c:pt idx="1">
                  <c:v>112.3685360611773</c:v>
                </c:pt>
                <c:pt idx="2">
                  <c:v>110.8754951402694</c:v>
                </c:pt>
                <c:pt idx="3">
                  <c:v>109.82769586018813</c:v>
                </c:pt>
                <c:pt idx="4">
                  <c:v>106.80980754221643</c:v>
                </c:pt>
                <c:pt idx="5">
                  <c:v>104.36129149154256</c:v>
                </c:pt>
                <c:pt idx="6">
                  <c:v>102.36572151078079</c:v>
                </c:pt>
                <c:pt idx="7">
                  <c:v>100.73240772875309</c:v>
                </c:pt>
                <c:pt idx="8">
                  <c:v>100.45436275541687</c:v>
                </c:pt>
                <c:pt idx="9">
                  <c:v>100.21168563124105</c:v>
                </c:pt>
                <c:pt idx="10">
                  <c:v>100.0</c:v>
                </c:pt>
                <c:pt idx="11">
                  <c:v>99.7037525249776</c:v>
                </c:pt>
                <c:pt idx="12">
                  <c:v>99.49917951950708</c:v>
                </c:pt>
                <c:pt idx="13">
                  <c:v>99.37255844647372</c:v>
                </c:pt>
                <c:pt idx="14">
                  <c:v>99.31228033246084</c:v>
                </c:pt>
                <c:pt idx="15">
                  <c:v>99.30852303452305</c:v>
                </c:pt>
                <c:pt idx="16">
                  <c:v>99.3529707460603</c:v>
                </c:pt>
                <c:pt idx="17">
                  <c:v>99.43857545432455</c:v>
                </c:pt>
                <c:pt idx="18">
                  <c:v>97.42636064290608</c:v>
                </c:pt>
                <c:pt idx="19">
                  <c:v>95.5575108291322</c:v>
                </c:pt>
                <c:pt idx="20">
                  <c:v>93.82089962878852</c:v>
                </c:pt>
                <c:pt idx="21">
                  <c:v>92.20626250823588</c:v>
                </c:pt>
                <c:pt idx="22">
                  <c:v>90.70411516896255</c:v>
                </c:pt>
                <c:pt idx="23">
                  <c:v>89.30568456278347</c:v>
                </c:pt>
                <c:pt idx="24">
                  <c:v>88.0028505790732</c:v>
                </c:pt>
                <c:pt idx="25">
                  <c:v>86.78809632582029</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540033302671191</c:v>
                </c:pt>
                <c:pt idx="1">
                  <c:v>0.6596754068201173</c:v>
                </c:pt>
                <c:pt idx="2">
                  <c:v>0.6651645131617283</c:v>
                </c:pt>
                <c:pt idx="3">
                  <c:v>0.670479362159161</c:v>
                </c:pt>
                <c:pt idx="4">
                  <c:v>0.6756281221254241</c:v>
                </c:pt>
                <c:pt idx="5">
                  <c:v>0.6806184587081099</c:v>
                </c:pt>
                <c:pt idx="6">
                  <c:v>0.6854575729701083</c:v>
                </c:pt>
                <c:pt idx="7">
                  <c:v>0.6901522360601067</c:v>
                </c:pt>
                <c:pt idx="8">
                  <c:v>0.6947088208239287</c:v>
                </c:pt>
                <c:pt idx="9">
                  <c:v>0.6991333306670601</c:v>
                </c:pt>
                <c:pt idx="10">
                  <c:v>0.7034314259432449</c:v>
                </c:pt>
                <c:pt idx="11">
                  <c:v>0.7076084481130585</c:v>
                </c:pt>
                <c:pt idx="12">
                  <c:v>0.7116694418892658</c:v>
                </c:pt>
                <c:pt idx="13">
                  <c:v>0.7156191755620158</c:v>
                </c:pt>
                <c:pt idx="14">
                  <c:v>0.7194621596760425</c:v>
                </c:pt>
                <c:pt idx="15">
                  <c:v>0.7232026642136953</c:v>
                </c:pt>
                <c:pt idx="16">
                  <c:v>0.72684473442141</c:v>
                </c:pt>
                <c:pt idx="17">
                  <c:v>0.7303922054029498</c:v>
                </c:pt>
                <c:pt idx="18">
                  <c:v>0.7338487155900917</c:v>
                </c:pt>
                <c:pt idx="19">
                  <c:v>0.7372177191902171</c:v>
                </c:pt>
                <c:pt idx="20">
                  <c:v>0.7405024977003394</c:v>
                </c:pt>
                <c:pt idx="21">
                  <c:v>0.7437061705682365</c:v>
                </c:pt>
                <c:pt idx="22">
                  <c:v>0.7468317050735019</c:v>
                </c:pt>
                <c:pt idx="23">
                  <c:v>0.749881925494303</c:v>
                </c:pt>
                <c:pt idx="24">
                  <c:v>0.7528595216193708</c:v>
                </c:pt>
                <c:pt idx="25">
                  <c:v>0.7557670566591429</c:v>
                </c:pt>
                <c:pt idx="26">
                  <c:v>0.75860697460496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7</c:v>
                </c:pt>
                <c:pt idx="2">
                  <c:v>0.10545776663491692</c:v>
                </c:pt>
                <c:pt idx="3">
                  <c:v>0.06836237634126419</c:v>
                </c:pt>
                <c:pt idx="4">
                  <c:v>0.05942837228954466</c:v>
                </c:pt>
                <c:pt idx="5">
                  <c:v>0.035604539584786835</c:v>
                </c:pt>
                <c:pt idx="6">
                  <c:v>0.03462881109582275</c:v>
                </c:pt>
                <c:pt idx="7">
                  <c:v>0.02459808009187193</c:v>
                </c:pt>
                <c:pt idx="8">
                  <c:v>0.02394976852107578</c:v>
                </c:pt>
                <c:pt idx="9">
                  <c:v>0.0224106725242098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51.1561045780263</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0</c:v>
                </c:pt>
                <c:pt idx="11">
                  <c:v>96.34218707657838</c:v>
                </c:pt>
                <c:pt idx="12">
                  <c:v>92.9884223442964</c:v>
                </c:pt>
                <c:pt idx="13">
                  <c:v>89.91210184076861</c:v>
                </c:pt>
                <c:pt idx="14">
                  <c:v>87.0869261494721</c:v>
                </c:pt>
                <c:pt idx="15">
                  <c:v>84.48776513700517</c:v>
                </c:pt>
                <c:pt idx="16">
                  <c:v>82.09120568095013</c:v>
                </c:pt>
                <c:pt idx="17">
                  <c:v>79.87583528964655</c:v>
                </c:pt>
                <c:pt idx="18">
                  <c:v>76.49515957229146</c:v>
                </c:pt>
                <c:pt idx="19">
                  <c:v>73.36603703267843</c:v>
                </c:pt>
                <c:pt idx="20">
                  <c:v>70.46834282996035</c:v>
                </c:pt>
                <c:pt idx="21">
                  <c:v>67.78274483494143</c:v>
                </c:pt>
                <c:pt idx="22">
                  <c:v>65.29092523242933</c:v>
                </c:pt>
                <c:pt idx="23">
                  <c:v>62.97573738817458</c:v>
                </c:pt>
                <c:pt idx="24">
                  <c:v>60.82129852205406</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30.61256811041224</c:v>
                </c:pt>
                <c:pt idx="1">
                  <c:v>128.39199505308406</c:v>
                </c:pt>
                <c:pt idx="2">
                  <c:v>126.59823253720084</c:v>
                </c:pt>
                <c:pt idx="3">
                  <c:v>125.14989260315</c:v>
                </c:pt>
                <c:pt idx="4">
                  <c:v>118.8231686819537</c:v>
                </c:pt>
                <c:pt idx="5">
                  <c:v>113.19261569430637</c:v>
                </c:pt>
                <c:pt idx="6">
                  <c:v>108.21176356510401</c:v>
                </c:pt>
                <c:pt idx="7">
                  <c:v>103.82325187459733</c:v>
                </c:pt>
                <c:pt idx="8">
                  <c:v>102.48664225119957</c:v>
                </c:pt>
                <c:pt idx="9">
                  <c:v>101.21371679242226</c:v>
                </c:pt>
                <c:pt idx="10">
                  <c:v>100.0</c:v>
                </c:pt>
                <c:pt idx="11">
                  <c:v>97.66750514103285</c:v>
                </c:pt>
                <c:pt idx="12">
                  <c:v>95.54845958723355</c:v>
                </c:pt>
                <c:pt idx="13">
                  <c:v>93.62734496931674</c:v>
                </c:pt>
                <c:pt idx="14">
                  <c:v>91.88757014778099</c:v>
                </c:pt>
                <c:pt idx="15">
                  <c:v>90.31240514379361</c:v>
                </c:pt>
                <c:pt idx="16">
                  <c:v>88.88564405450799</c:v>
                </c:pt>
                <c:pt idx="17">
                  <c:v>87.5920249037798</c:v>
                </c:pt>
                <c:pt idx="18">
                  <c:v>84.92373578934436</c:v>
                </c:pt>
                <c:pt idx="19">
                  <c:v>82.44837308757661</c:v>
                </c:pt>
                <c:pt idx="20">
                  <c:v>80.15287241006688</c:v>
                </c:pt>
                <c:pt idx="21">
                  <c:v>78.02406468123996</c:v>
                </c:pt>
                <c:pt idx="22">
                  <c:v>76.04897606794441</c:v>
                </c:pt>
                <c:pt idx="23">
                  <c:v>74.2150709298142</c:v>
                </c:pt>
                <c:pt idx="24">
                  <c:v>72.51043240246749</c:v>
                </c:pt>
                <c:pt idx="25">
                  <c:v>70.92388297481973</c:v>
                </c:pt>
                <c:pt idx="26">
                  <c:v>69.44505248399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20.24044632467752</c:v>
                </c:pt>
                <c:pt idx="1">
                  <c:v>119.36759091630226</c:v>
                </c:pt>
                <c:pt idx="2">
                  <c:v>118.81370881873569</c:v>
                </c:pt>
                <c:pt idx="3">
                  <c:v>118.5177322946951</c:v>
                </c:pt>
                <c:pt idx="4">
                  <c:v>113.52764113870786</c:v>
                </c:pt>
                <c:pt idx="5">
                  <c:v>109.06726910257478</c:v>
                </c:pt>
                <c:pt idx="6">
                  <c:v>105.11566652550776</c:v>
                </c:pt>
                <c:pt idx="7">
                  <c:v>101.63811123949972</c:v>
                </c:pt>
                <c:pt idx="8">
                  <c:v>101.06992309334062</c:v>
                </c:pt>
                <c:pt idx="9">
                  <c:v>100.52435688284773</c:v>
                </c:pt>
                <c:pt idx="10">
                  <c:v>100.0</c:v>
                </c:pt>
                <c:pt idx="11">
                  <c:v>98.3126547195191</c:v>
                </c:pt>
                <c:pt idx="12">
                  <c:v>96.79216986046826</c:v>
                </c:pt>
                <c:pt idx="13">
                  <c:v>95.42896499580166</c:v>
                </c:pt>
                <c:pt idx="14">
                  <c:v>94.21161265733826</c:v>
                </c:pt>
                <c:pt idx="15">
                  <c:v>93.12782264859757</c:v>
                </c:pt>
                <c:pt idx="16">
                  <c:v>92.16517656365794</c:v>
                </c:pt>
                <c:pt idx="17">
                  <c:v>91.31162760108805</c:v>
                </c:pt>
                <c:pt idx="18">
                  <c:v>89.0114821804946</c:v>
                </c:pt>
                <c:pt idx="19">
                  <c:v>86.87090606309592</c:v>
                </c:pt>
                <c:pt idx="20">
                  <c:v>84.88109321601112</c:v>
                </c:pt>
                <c:pt idx="21">
                  <c:v>83.03256222541411</c:v>
                </c:pt>
                <c:pt idx="22">
                  <c:v>81.31551335342407</c:v>
                </c:pt>
                <c:pt idx="23">
                  <c:v>79.72013084164954</c:v>
                </c:pt>
                <c:pt idx="24">
                  <c:v>78.23682188999686</c:v>
                </c:pt>
                <c:pt idx="25">
                  <c:v>76.8563922907137</c:v>
                </c:pt>
                <c:pt idx="26">
                  <c:v>75.570164616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482176191501765</c:v>
                </c:pt>
                <c:pt idx="1">
                  <c:v>0.653984543426403</c:v>
                </c:pt>
                <c:pt idx="2">
                  <c:v>0.6595654378872675</c:v>
                </c:pt>
                <c:pt idx="3">
                  <c:v>0.6649691610954063</c:v>
                </c:pt>
                <c:pt idx="4">
                  <c:v>0.6702040179532903</c:v>
                </c:pt>
                <c:pt idx="5">
                  <c:v>0.6752778022924705</c:v>
                </c:pt>
                <c:pt idx="6">
                  <c:v>0.6801978355910695</c:v>
                </c:pt>
                <c:pt idx="7">
                  <c:v>0.6849710022240386</c:v>
                </c:pt>
                <c:pt idx="8">
                  <c:v>0.6896037816030969</c:v>
                </c:pt>
                <c:pt idx="9">
                  <c:v>0.6941022775218926</c:v>
                </c:pt>
                <c:pt idx="10">
                  <c:v>0.6984722449858656</c:v>
                </c:pt>
                <c:pt idx="11">
                  <c:v>0.702719114774797</c:v>
                </c:pt>
                <c:pt idx="12">
                  <c:v>0.7068480159584806</c:v>
                </c:pt>
                <c:pt idx="13">
                  <c:v>0.7108637965617888</c:v>
                </c:pt>
                <c:pt idx="14">
                  <c:v>0.714771042554197</c:v>
                </c:pt>
                <c:pt idx="15">
                  <c:v>0.7185740953201413</c:v>
                </c:pt>
                <c:pt idx="16">
                  <c:v>0.7222770677501392</c:v>
                </c:pt>
                <c:pt idx="17">
                  <c:v>0.7258838590780596</c:v>
                </c:pt>
                <c:pt idx="18">
                  <c:v>0.7293981685770589</c:v>
                </c:pt>
                <c:pt idx="19">
                  <c:v>0.7328235082153237</c:v>
                </c:pt>
                <c:pt idx="20">
                  <c:v>0.7361632143626323</c:v>
                </c:pt>
                <c:pt idx="21">
                  <c:v>0.7394204586297604</c:v>
                </c:pt>
                <c:pt idx="22">
                  <c:v>0.7425982579147632</c:v>
                </c:pt>
                <c:pt idx="23">
                  <c:v>0.7456994837230191</c:v>
                </c:pt>
                <c:pt idx="24">
                  <c:v>0.7487268708215546</c:v>
                </c:pt>
                <c:pt idx="25">
                  <c:v>0.7516830252824774</c:v>
                </c:pt>
                <c:pt idx="26">
                  <c:v>0.75457043196523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0</c:v>
                </c:pt>
                <c:pt idx="13">
                  <c:v>95.54189322012617</c:v>
                </c:pt>
                <c:pt idx="14">
                  <c:v>91.43305915753126</c:v>
                </c:pt>
                <c:pt idx="15">
                  <c:v>87.638594541065</c:v>
                </c:pt>
                <c:pt idx="16">
                  <c:v>84.12733043806088</c:v>
                </c:pt>
                <c:pt idx="17">
                  <c:v>80.87149017938454</c:v>
                </c:pt>
                <c:pt idx="18">
                  <c:v>77.84635128587475</c:v>
                </c:pt>
                <c:pt idx="19">
                  <c:v>75.02992210434721</c:v>
                </c:pt>
                <c:pt idx="20">
                  <c:v>73.99043612135375</c:v>
                </c:pt>
                <c:pt idx="21">
                  <c:v>72.9735850139635</c:v>
                </c:pt>
                <c:pt idx="22">
                  <c:v>71.97861378997877</c:v>
                </c:pt>
                <c:pt idx="23">
                  <c:v>71.00480385820322</c:v>
                </c:pt>
                <c:pt idx="24">
                  <c:v>70.05147073272838</c:v>
                </c:pt>
                <c:pt idx="25">
                  <c:v>69.1179619095442</c:v>
                </c:pt>
                <c:pt idx="26">
                  <c:v>68.20365490108405</c:v>
                </c:pt>
                <c:pt idx="27">
                  <c:v>67.40920491723443</c:v>
                </c:pt>
                <c:pt idx="28">
                  <c:v>66.632013045506</c:v>
                </c:pt>
                <c:pt idx="29">
                  <c:v>65.87149423213222</c:v>
                </c:pt>
                <c:pt idx="30">
                  <c:v>65.1270910738031</c:v>
                </c:pt>
                <c:pt idx="31">
                  <c:v>64.39827218656276</c:v>
                </c:pt>
                <c:pt idx="32">
                  <c:v>63.684530684075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c:v>
                </c:pt>
                <c:pt idx="5">
                  <c:v>118.03128739708558</c:v>
                </c:pt>
                <c:pt idx="6">
                  <c:v>115.4006627510948</c:v>
                </c:pt>
                <c:pt idx="7">
                  <c:v>113.05747570990326</c:v>
                </c:pt>
                <c:pt idx="8">
                  <c:v>110.96326005082607</c:v>
                </c:pt>
                <c:pt idx="9">
                  <c:v>109.08409235234227</c:v>
                </c:pt>
                <c:pt idx="10">
                  <c:v>107.39053519008411</c:v>
                </c:pt>
                <c:pt idx="11">
                  <c:v>103.54429370675953</c:v>
                </c:pt>
                <c:pt idx="12">
                  <c:v>100.0</c:v>
                </c:pt>
                <c:pt idx="13">
                  <c:v>96.72954783745318</c:v>
                </c:pt>
                <c:pt idx="14">
                  <c:v>93.7072104381141</c:v>
                </c:pt>
                <c:pt idx="15">
                  <c:v>90.9095919254092</c:v>
                </c:pt>
                <c:pt idx="16">
                  <c:v>88.3155233256529</c:v>
                </c:pt>
                <c:pt idx="17">
                  <c:v>85.9059232092626</c:v>
                </c:pt>
                <c:pt idx="18">
                  <c:v>83.66363860531455</c:v>
                </c:pt>
                <c:pt idx="19">
                  <c:v>81.5732779388128</c:v>
                </c:pt>
                <c:pt idx="20">
                  <c:v>81.37148789318206</c:v>
                </c:pt>
                <c:pt idx="21">
                  <c:v>81.16879235654885</c:v>
                </c:pt>
                <c:pt idx="22">
                  <c:v>80.96519446344998</c:v>
                </c:pt>
                <c:pt idx="23">
                  <c:v>80.76070082931365</c:v>
                </c:pt>
                <c:pt idx="24">
                  <c:v>80.55532119515134</c:v>
                </c:pt>
                <c:pt idx="25">
                  <c:v>80.34906809979002</c:v>
                </c:pt>
                <c:pt idx="26">
                  <c:v>80.14195657785777</c:v>
                </c:pt>
                <c:pt idx="27">
                  <c:v>80.05487567971362</c:v>
                </c:pt>
                <c:pt idx="28">
                  <c:v>79.96855647925202</c:v>
                </c:pt>
                <c:pt idx="29">
                  <c:v>79.88293949317806</c:v>
                </c:pt>
                <c:pt idx="30">
                  <c:v>79.79796974951392</c:v>
                </c:pt>
                <c:pt idx="31">
                  <c:v>79.71359650241673</c:v>
                </c:pt>
                <c:pt idx="32">
                  <c:v>79.629772961085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0</c:v>
                </c:pt>
                <c:pt idx="13">
                  <c:v>97.380914497909</c:v>
                </c:pt>
                <c:pt idx="14">
                  <c:v>94.95292537780958</c:v>
                </c:pt>
                <c:pt idx="15">
                  <c:v>92.69928262303556</c:v>
                </c:pt>
                <c:pt idx="16">
                  <c:v>90.60457075659659</c:v>
                </c:pt>
                <c:pt idx="17">
                  <c:v>88.65469324315643</c:v>
                </c:pt>
                <c:pt idx="18">
                  <c:v>86.83682184830997</c:v>
                </c:pt>
                <c:pt idx="19">
                  <c:v>85.13932364526723</c:v>
                </c:pt>
                <c:pt idx="20">
                  <c:v>85.38397098180266</c:v>
                </c:pt>
                <c:pt idx="21">
                  <c:v>85.61515761948219</c:v>
                </c:pt>
                <c:pt idx="22">
                  <c:v>85.83329029299759</c:v>
                </c:pt>
                <c:pt idx="23">
                  <c:v>86.03876171594595</c:v>
                </c:pt>
                <c:pt idx="24">
                  <c:v>86.2319512581441</c:v>
                </c:pt>
                <c:pt idx="25">
                  <c:v>86.41322557325543</c:v>
                </c:pt>
                <c:pt idx="26">
                  <c:v>86.5829391816804</c:v>
                </c:pt>
                <c:pt idx="27">
                  <c:v>86.87191776231039</c:v>
                </c:pt>
                <c:pt idx="28">
                  <c:v>87.15288582994833</c:v>
                </c:pt>
                <c:pt idx="29">
                  <c:v>87.42606345783636</c:v>
                </c:pt>
                <c:pt idx="30">
                  <c:v>87.69166290450502</c:v>
                </c:pt>
                <c:pt idx="31">
                  <c:v>87.94988904727202</c:v>
                </c:pt>
                <c:pt idx="32">
                  <c:v>88.200939778835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E$2:$E$34</c:f>
              <c:numCache>
                <c:formatCode>General</c:formatCode>
                <c:ptCount val="33"/>
                <c:pt idx="0">
                  <c:v>0.5963071087019437</c:v>
                </c:pt>
                <c:pt idx="1">
                  <c:v>0.6022437688680917</c:v>
                </c:pt>
                <c:pt idx="2">
                  <c:v>0.6080083519279742</c:v>
                </c:pt>
                <c:pt idx="3">
                  <c:v>0.6136082326147176</c:v>
                </c:pt>
                <c:pt idx="4">
                  <c:v>0.6190503701835244</c:v>
                </c:pt>
                <c:pt idx="5">
                  <c:v>0.6243413372643087</c:v>
                </c:pt>
                <c:pt idx="6">
                  <c:v>0.6294873463428797</c:v>
                </c:pt>
                <c:pt idx="7">
                  <c:v>0.6344942740950031</c:v>
                </c:pt>
                <c:pt idx="8">
                  <c:v>0.6393676837737364</c:v>
                </c:pt>
                <c:pt idx="9">
                  <c:v>0.6441128458293451</c:v>
                </c:pt>
                <c:pt idx="10">
                  <c:v>0.6487347569224705</c:v>
                </c:pt>
                <c:pt idx="11">
                  <c:v>0.6532381574747466</c:v>
                </c:pt>
                <c:pt idx="12">
                  <c:v>0.6576275478864585</c:v>
                </c:pt>
                <c:pt idx="13">
                  <c:v>0.6619072035378778</c:v>
                </c:pt>
                <c:pt idx="14">
                  <c:v>0.6660811886793857</c:v>
                </c:pt>
                <c:pt idx="15">
                  <c:v>0.6701533693052468</c:v>
                </c:pt>
                <c:pt idx="16">
                  <c:v>0.6741274250967498</c:v>
                </c:pt>
                <c:pt idx="17">
                  <c:v>0.6780068605122646</c:v>
                </c:pt>
                <c:pt idx="18">
                  <c:v>0.6817950150944734</c:v>
                </c:pt>
                <c:pt idx="19">
                  <c:v>0.685495073058491</c:v>
                </c:pt>
                <c:pt idx="20">
                  <c:v>0.6891100722187383</c:v>
                </c:pt>
                <c:pt idx="21">
                  <c:v>0.6926429123071617</c:v>
                </c:pt>
                <c:pt idx="22">
                  <c:v>0.6960963627306769</c:v>
                </c:pt>
                <c:pt idx="23">
                  <c:v>0.6994730698114471</c:v>
                </c:pt>
                <c:pt idx="24">
                  <c:v>0.7027755635497827</c:v>
                </c:pt>
                <c:pt idx="25">
                  <c:v>0.7060062639459808</c:v>
                </c:pt>
                <c:pt idx="26">
                  <c:v>0.7091674869143036</c:v>
                </c:pt>
                <c:pt idx="27">
                  <c:v>0.7122614498194705</c:v>
                </c:pt>
                <c:pt idx="28">
                  <c:v>0.7152902766634761</c:v>
                </c:pt>
                <c:pt idx="29">
                  <c:v>0.7182560029482317</c:v>
                </c:pt>
                <c:pt idx="30">
                  <c:v>0.7211605802374251</c:v>
                </c:pt>
                <c:pt idx="31">
                  <c:v>0.724005880439084</c:v>
                </c:pt>
                <c:pt idx="32">
                  <c:v>0.72679369982858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0</c:v>
                </c:pt>
                <c:pt idx="6">
                  <c:v>99.07661611720495</c:v>
                </c:pt>
                <c:pt idx="7">
                  <c:v>98.16661039410442</c:v>
                </c:pt>
                <c:pt idx="8">
                  <c:v>97.26970839666006</c:v>
                </c:pt>
                <c:pt idx="9">
                  <c:v>96.38564197209219</c:v>
                </c:pt>
                <c:pt idx="10">
                  <c:v>92.55877966024038</c:v>
                </c:pt>
                <c:pt idx="11">
                  <c:v>89.23451155752956</c:v>
                </c:pt>
                <c:pt idx="12">
                  <c:v>86.3007424423977</c:v>
                </c:pt>
                <c:pt idx="13">
                  <c:v>85.06927051838586</c:v>
                </c:pt>
                <c:pt idx="14">
                  <c:v>83.87156071702316</c:v>
                </c:pt>
                <c:pt idx="15">
                  <c:v>82.706101436241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C$2:$C$17</c:f>
              <c:numCache>
                <c:formatCode>General</c:formatCode>
                <c:ptCount val="16"/>
                <c:pt idx="0">
                  <c:v>103.96585007468676</c:v>
                </c:pt>
                <c:pt idx="1">
                  <c:v>102.4665709006583</c:v>
                </c:pt>
                <c:pt idx="2">
                  <c:v>101.1335423064008</c:v>
                </c:pt>
                <c:pt idx="3">
                  <c:v>99.94116974965894</c:v>
                </c:pt>
                <c:pt idx="4">
                  <c:v>98.8685712297068</c:v>
                </c:pt>
                <c:pt idx="5">
                  <c:v>10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c:v>
                </c:pt>
                <c:pt idx="14">
                  <c:v>99.5405452654776</c:v>
                </c:pt>
                <c:pt idx="15">
                  <c:v>99.865256565653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D$2:$D$17</c:f>
              <c:numCache>
                <c:formatCode>General</c:formatCode>
                <c:ptCount val="16"/>
                <c:pt idx="0">
                  <c:v>91.44651083275929</c:v>
                </c:pt>
                <c:pt idx="1">
                  <c:v>92.80802399906547</c:v>
                </c:pt>
                <c:pt idx="2">
                  <c:v>94.12941960516731</c:v>
                </c:pt>
                <c:pt idx="3">
                  <c:v>95.41077227961708</c:v>
                </c:pt>
                <c:pt idx="4">
                  <c:v>96.65235108065595</c:v>
                </c:pt>
                <c:pt idx="5">
                  <c:v>100.0</c:v>
                </c:pt>
                <c:pt idx="6">
                  <c:v>103.28233440325214</c:v>
                </c:pt>
                <c:pt idx="7">
                  <c:v>106.500789024617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E$2:$E$17</c:f>
              <c:numCache>
                <c:formatCode>General</c:formatCode>
                <c:ptCount val="16"/>
                <c:pt idx="0">
                  <c:v>0.4315720212594948</c:v>
                </c:pt>
                <c:pt idx="1">
                  <c:v>0.44449083895814256</c:v>
                </c:pt>
                <c:pt idx="2">
                  <c:v>0.45683548698129506</c:v>
                </c:pt>
                <c:pt idx="3">
                  <c:v>0.46864341117735386</c:v>
                </c:pt>
                <c:pt idx="4">
                  <c:v>0.47994887051400587</c:v>
                </c:pt>
                <c:pt idx="5">
                  <c:v>0.490783269044964</c:v>
                </c:pt>
                <c:pt idx="6">
                  <c:v>0.5011754472277199</c:v>
                </c:pt>
                <c:pt idx="7">
                  <c:v>0.5111519382831655</c:v>
                </c:pt>
                <c:pt idx="8">
                  <c:v>0.5207371943952602</c:v>
                </c:pt>
                <c:pt idx="9">
                  <c:v>0.5299537868107361</c:v>
                </c:pt>
                <c:pt idx="10">
                  <c:v>0.5388225832860051</c:v>
                </c:pt>
                <c:pt idx="11">
                  <c:v>0.5473629058177458</c:v>
                </c:pt>
                <c:pt idx="12">
                  <c:v>0.5555926711665141</c:v>
                </c:pt>
                <c:pt idx="13">
                  <c:v>0.5635285163242549</c:v>
                </c:pt>
                <c:pt idx="14">
                  <c:v>0.5711859107747066</c:v>
                </c:pt>
                <c:pt idx="15">
                  <c:v>0.57857925714065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0</c:v>
                </c:pt>
                <c:pt idx="9">
                  <c:v>98.38654364039127</c:v>
                </c:pt>
                <c:pt idx="10">
                  <c:v>96.83135796002806</c:v>
                </c:pt>
                <c:pt idx="11">
                  <c:v>95.33074837478075</c:v>
                </c:pt>
                <c:pt idx="12">
                  <c:v>86.70251891923108</c:v>
                </c:pt>
                <c:pt idx="13">
                  <c:v>79.96858185444266</c:v>
                </c:pt>
                <c:pt idx="14">
                  <c:v>77.47983783076404</c:v>
                </c:pt>
                <c:pt idx="15">
                  <c:v>75.33236024183023</c:v>
                </c:pt>
                <c:pt idx="16">
                  <c:v>73.4433881899418</c:v>
                </c:pt>
                <c:pt idx="17">
                  <c:v>71.45943887318143</c:v>
                </c:pt>
                <c:pt idx="18">
                  <c:v>69.67349383089812</c:v>
                </c:pt>
                <c:pt idx="19">
                  <c:v>68.051180587563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0</c:v>
                </c:pt>
                <c:pt idx="9">
                  <c:v>100.17065210823992</c:v>
                </c:pt>
                <c:pt idx="10">
                  <c:v>100.3431347763731</c:v>
                </c:pt>
                <c:pt idx="11">
                  <c:v>100.5167249143661</c:v>
                </c:pt>
                <c:pt idx="12">
                  <c:v>92.99070635973624</c:v>
                </c:pt>
                <c:pt idx="13">
                  <c:v>87.21809696877196</c:v>
                </c:pt>
                <c:pt idx="14">
                  <c:v>85.9086721731947</c:v>
                </c:pt>
                <c:pt idx="15">
                  <c:v>84.89360688933571</c:v>
                </c:pt>
                <c:pt idx="16">
                  <c:v>84.09668517409217</c:v>
                </c:pt>
                <c:pt idx="17">
                  <c:v>83.12165117668602</c:v>
                </c:pt>
                <c:pt idx="18">
                  <c:v>82.30847610629249</c:v>
                </c:pt>
                <c:pt idx="19">
                  <c:v>81.626720685865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D$2:$D$21</c:f>
              <c:numCache>
                <c:formatCode>General</c:formatCode>
                <c:ptCount val="20"/>
                <c:pt idx="0">
                  <c:v>66.4595305859574</c:v>
                </c:pt>
                <c:pt idx="1">
                  <c:v>73.07526466137506</c:v>
                </c:pt>
                <c:pt idx="2">
                  <c:v>79.52471409754263</c:v>
                </c:pt>
                <c:pt idx="3">
                  <c:v>85.81260853253896</c:v>
                </c:pt>
                <c:pt idx="4">
                  <c:v>91.94351587147268</c:v>
                </c:pt>
                <c:pt idx="5">
                  <c:v>97.9218482974742</c:v>
                </c:pt>
                <c:pt idx="6">
                  <c:v>98.22057923442189</c:v>
                </c:pt>
                <c:pt idx="7">
                  <c:v>98.95808317526729</c:v>
                </c:pt>
                <c:pt idx="8">
                  <c:v>10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c:v>
                </c:pt>
                <c:pt idx="6">
                  <c:v>0.27981632207643875</c:v>
                </c:pt>
                <c:pt idx="7">
                  <c:v>0.29315305685280096</c:v>
                </c:pt>
                <c:pt idx="8">
                  <c:v>0.3060048194554771</c:v>
                </c:pt>
                <c:pt idx="9">
                  <c:v>0.31839759053662936</c:v>
                </c:pt>
                <c:pt idx="10">
                  <c:v>0.3303555275447587</c:v>
                </c:pt>
                <c:pt idx="11">
                  <c:v>0.34190112189743543</c:v>
                </c:pt>
                <c:pt idx="12">
                  <c:v>0.35305534017036017</c:v>
                </c:pt>
                <c:pt idx="13">
                  <c:v>0.36383775116752093</c:v>
                </c:pt>
                <c:pt idx="14">
                  <c:v>0.3742666404926434</c:v>
                </c:pt>
                <c:pt idx="15">
                  <c:v>0.38435911403308465</c:v>
                </c:pt>
                <c:pt idx="16">
                  <c:v>0.394131191588115</c:v>
                </c:pt>
                <c:pt idx="17">
                  <c:v>0.4035978917195506</c:v>
                </c:pt>
                <c:pt idx="18">
                  <c:v>0.41277330877001916</c:v>
                </c:pt>
                <c:pt idx="19">
                  <c:v>0.42167068287956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0</c:v>
                </c:pt>
                <c:pt idx="12">
                  <c:v>97.8233668999513</c:v>
                </c:pt>
                <c:pt idx="13">
                  <c:v>95.76520900246902</c:v>
                </c:pt>
                <c:pt idx="14">
                  <c:v>93.81511442895783</c:v>
                </c:pt>
                <c:pt idx="15">
                  <c:v>91.96384186568443</c:v>
                </c:pt>
                <c:pt idx="16">
                  <c:v>90.20316940181058</c:v>
                </c:pt>
                <c:pt idx="17">
                  <c:v>88.52576459950401</c:v>
                </c:pt>
                <c:pt idx="18">
                  <c:v>86.92507266561242</c:v>
                </c:pt>
                <c:pt idx="19">
                  <c:v>85.39522006202105</c:v>
                </c:pt>
                <c:pt idx="20">
                  <c:v>83.93093129272646</c:v>
                </c:pt>
                <c:pt idx="21">
                  <c:v>82.75985439031693</c:v>
                </c:pt>
                <c:pt idx="22">
                  <c:v>81.61290090342044</c:v>
                </c:pt>
                <c:pt idx="23">
                  <c:v>80.4893550449999</c:v>
                </c:pt>
                <c:pt idx="24">
                  <c:v>79.3885316470768</c:v>
                </c:pt>
                <c:pt idx="25">
                  <c:v>78.30977434852504</c:v>
                </c:pt>
                <c:pt idx="26">
                  <c:v>77.25245391774038</c:v>
                </c:pt>
                <c:pt idx="27">
                  <c:v>76.215966698694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6</c:v>
                </c:pt>
                <c:pt idx="7">
                  <c:v>99.86710623268657</c:v>
                </c:pt>
                <c:pt idx="8">
                  <c:v>99.84981599205392</c:v>
                </c:pt>
                <c:pt idx="9">
                  <c:v>99.86935475371207</c:v>
                </c:pt>
                <c:pt idx="10">
                  <c:v>99.92080955712768</c:v>
                </c:pt>
                <c:pt idx="11">
                  <c:v>100.0</c:v>
                </c:pt>
                <c:pt idx="12">
                  <c:v>99.08612131916679</c:v>
                </c:pt>
                <c:pt idx="13">
                  <c:v>98.23770101468709</c:v>
                </c:pt>
                <c:pt idx="14">
                  <c:v>97.44849379532309</c:v>
                </c:pt>
                <c:pt idx="15">
                  <c:v>96.7129506022775</c:v>
                </c:pt>
                <c:pt idx="16">
                  <c:v>96.02613275754149</c:v>
                </c:pt>
                <c:pt idx="17">
                  <c:v>95.38363737166924</c:v>
                </c:pt>
                <c:pt idx="18">
                  <c:v>94.78153249792447</c:v>
                </c:pt>
                <c:pt idx="19">
                  <c:v>94.21630071625114</c:v>
                </c:pt>
                <c:pt idx="20">
                  <c:v>93.68479000603344</c:v>
                </c:pt>
                <c:pt idx="21">
                  <c:v>93.4469122377764</c:v>
                </c:pt>
                <c:pt idx="22">
                  <c:v>93.2063259425966</c:v>
                </c:pt>
                <c:pt idx="23">
                  <c:v>92.96313998965992</c:v>
                </c:pt>
                <c:pt idx="24">
                  <c:v>92.71746195731062</c:v>
                </c:pt>
                <c:pt idx="25">
                  <c:v>92.46939797533831</c:v>
                </c:pt>
                <c:pt idx="26">
                  <c:v>92.2190525875154</c:v>
                </c:pt>
                <c:pt idx="27">
                  <c:v>91.9665286327483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95.34913489131898</c:v>
                </c:pt>
                <c:pt idx="1">
                  <c:v>95.01478769960103</c:v>
                </c:pt>
                <c:pt idx="2">
                  <c:v>95.45671084768766</c:v>
                </c:pt>
                <c:pt idx="3">
                  <c:v>95.91125824589164</c:v>
                </c:pt>
                <c:pt idx="4">
                  <c:v>96.3757033355606</c:v>
                </c:pt>
                <c:pt idx="5">
                  <c:v>96.80691944288836</c:v>
                </c:pt>
                <c:pt idx="6">
                  <c:v>97.2758827449606</c:v>
                </c:pt>
                <c:pt idx="7">
                  <c:v>97.77636067710222</c:v>
                </c:pt>
                <c:pt idx="8">
                  <c:v>98.30310544669567</c:v>
                </c:pt>
                <c:pt idx="9">
                  <c:v>98.85169107332233</c:v>
                </c:pt>
                <c:pt idx="10">
                  <c:v>99.41837788503966</c:v>
                </c:pt>
                <c:pt idx="11">
                  <c:v>100.0</c:v>
                </c:pt>
                <c:pt idx="12">
                  <c:v>99.5743238475883</c:v>
                </c:pt>
                <c:pt idx="13">
                  <c:v>99.19344426687735</c:v>
                </c:pt>
                <c:pt idx="14">
                  <c:v>98.8527521102722</c:v>
                </c:pt>
                <c:pt idx="15">
                  <c:v>98.54814714770558</c:v>
                </c:pt>
                <c:pt idx="16">
                  <c:v>98.27597813699315</c:v>
                </c:pt>
                <c:pt idx="17">
                  <c:v>98.03299017244376</c:v>
                </c:pt>
                <c:pt idx="18">
                  <c:v>97.81627844923251</c:v>
                </c:pt>
                <c:pt idx="19">
                  <c:v>97.6232476673691</c:v>
                </c:pt>
                <c:pt idx="20">
                  <c:v>97.45157638328573</c:v>
                </c:pt>
                <c:pt idx="21">
                  <c:v>97.57318034937511</c:v>
                </c:pt>
                <c:pt idx="22">
                  <c:v>97.68173480481201</c:v>
                </c:pt>
                <c:pt idx="23">
                  <c:v>97.777665585896</c:v>
                </c:pt>
                <c:pt idx="24">
                  <c:v>97.86138502473803</c:v>
                </c:pt>
                <c:pt idx="25">
                  <c:v>97.93329242321383</c:v>
                </c:pt>
                <c:pt idx="26">
                  <c:v>97.99377450338596</c:v>
                </c:pt>
                <c:pt idx="27">
                  <c:v>98.043205836506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6798260056729325</c:v>
                </c:pt>
                <c:pt idx="1">
                  <c:v>0.6846047220061723</c:v>
                </c:pt>
                <c:pt idx="2">
                  <c:v>0.6892428878590228</c:v>
                </c:pt>
                <c:pt idx="3">
                  <c:v>0.6937466141219355</c:v>
                </c:pt>
                <c:pt idx="4">
                  <c:v>0.6981216624916221</c:v>
                </c:pt>
                <c:pt idx="5">
                  <c:v>0.7023734700621626</c:v>
                </c:pt>
                <c:pt idx="6">
                  <c:v>0.7065071718668549</c:v>
                </c:pt>
                <c:pt idx="7">
                  <c:v>0.7105276215673089</c:v>
                </c:pt>
                <c:pt idx="8">
                  <c:v>0.7144394104650479</c:v>
                </c:pt>
                <c:pt idx="9">
                  <c:v>0.7182468849921807</c:v>
                </c:pt>
                <c:pt idx="10">
                  <c:v>0.7219541628212308</c:v>
                </c:pt>
                <c:pt idx="11">
                  <c:v>0.7255651477196565</c:v>
                </c:pt>
                <c:pt idx="12">
                  <c:v>0.7290835432617122</c:v>
                </c:pt>
                <c:pt idx="13">
                  <c:v>0.7325128654989057</c:v>
                </c:pt>
                <c:pt idx="14">
                  <c:v>0.7358564546801692</c:v>
                </c:pt>
                <c:pt idx="15">
                  <c:v>0.739117486103871</c:v>
                </c:pt>
                <c:pt idx="16">
                  <c:v>0.742298980175775</c:v>
                </c:pt>
                <c:pt idx="17">
                  <c:v>0.7454038117399223</c:v>
                </c:pt>
                <c:pt idx="18">
                  <c:v>0.7484347187430184</c:v>
                </c:pt>
                <c:pt idx="19">
                  <c:v>0.7513943102872183</c:v>
                </c:pt>
                <c:pt idx="20">
                  <c:v>0.7542850741210879</c:v>
                </c:pt>
                <c:pt idx="21">
                  <c:v>0.7571093836139489</c:v>
                </c:pt>
                <c:pt idx="22">
                  <c:v>0.7598695042546993</c:v>
                </c:pt>
                <c:pt idx="23">
                  <c:v>0.7625675997125116</c:v>
                </c:pt>
                <c:pt idx="24">
                  <c:v>0.765205737493484</c:v>
                </c:pt>
                <c:pt idx="25">
                  <c:v>0.7677858942243246</c:v>
                </c:pt>
                <c:pt idx="26">
                  <c:v>0.7703099605914515</c:v>
                </c:pt>
                <c:pt idx="27">
                  <c:v>0.77277974596143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47.89392630017412</c:v>
                </c:pt>
                <c:pt idx="1">
                  <c:v>143.8392025895943</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0</c:v>
                </c:pt>
                <c:pt idx="11">
                  <c:v>96.08194687228504</c:v>
                </c:pt>
                <c:pt idx="12">
                  <c:v>92.50754327220028</c:v>
                </c:pt>
                <c:pt idx="13">
                  <c:v>89.24290572223008</c:v>
                </c:pt>
                <c:pt idx="14">
                  <c:v>86.25502118347767</c:v>
                </c:pt>
                <c:pt idx="15">
                  <c:v>83.5128711130815</c:v>
                </c:pt>
                <c:pt idx="16">
                  <c:v>80.98811781819919</c:v>
                </c:pt>
                <c:pt idx="17">
                  <c:v>78.65541410796017</c:v>
                </c:pt>
                <c:pt idx="18">
                  <c:v>75.22567335230192</c:v>
                </c:pt>
                <c:pt idx="19">
                  <c:v>72.04492699969751</c:v>
                </c:pt>
                <c:pt idx="20">
                  <c:v>69.09219274880752</c:v>
                </c:pt>
                <c:pt idx="21">
                  <c:v>66.3480767059568</c:v>
                </c:pt>
                <c:pt idx="22">
                  <c:v>63.79475520420258</c:v>
                </c:pt>
                <c:pt idx="23">
                  <c:v>61.41591559600557</c:v>
                </c:pt>
                <c:pt idx="24">
                  <c:v>59.19667203812163</c:v>
                </c:pt>
                <c:pt idx="25">
                  <c:v>57.123468091512486</c:v>
                </c:pt>
                <c:pt idx="26">
                  <c:v>55.183974384017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0</c:v>
                </c:pt>
                <c:pt idx="11">
                  <c:v>97.40905079622732</c:v>
                </c:pt>
                <c:pt idx="12">
                  <c:v>95.06466523047395</c:v>
                </c:pt>
                <c:pt idx="13">
                  <c:v>92.94543868474977</c:v>
                </c:pt>
                <c:pt idx="14">
                  <c:v>91.02907873896612</c:v>
                </c:pt>
                <c:pt idx="15">
                  <c:v>89.2936577350099</c:v>
                </c:pt>
                <c:pt idx="16">
                  <c:v>87.7184847094011</c:v>
                </c:pt>
                <c:pt idx="17">
                  <c:v>86.28462169483008</c:v>
                </c:pt>
                <c:pt idx="18">
                  <c:v>83.55292837863331</c:v>
                </c:pt>
                <c:pt idx="19">
                  <c:v>81.00897131155828</c:v>
                </c:pt>
                <c:pt idx="20">
                  <c:v>78.63874010653082</c:v>
                </c:pt>
                <c:pt idx="21">
                  <c:v>76.42897022133566</c:v>
                </c:pt>
                <c:pt idx="22">
                  <c:v>74.36721956302299</c:v>
                </c:pt>
                <c:pt idx="23">
                  <c:v>72.44189671526439</c:v>
                </c:pt>
                <c:pt idx="24">
                  <c:v>70.64225589902765</c:v>
                </c:pt>
                <c:pt idx="25">
                  <c:v>68.95837040423501</c:v>
                </c:pt>
                <c:pt idx="26">
                  <c:v>67.381093134817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4</c:v>
                </c:pt>
                <c:pt idx="9">
                  <c:v>100.36809226863564</c:v>
                </c:pt>
                <c:pt idx="10">
                  <c:v>100.0</c:v>
                </c:pt>
                <c:pt idx="11">
                  <c:v>98.04693373267386</c:v>
                </c:pt>
                <c:pt idx="12">
                  <c:v>96.29131562349009</c:v>
                </c:pt>
                <c:pt idx="13">
                  <c:v>94.71826741614532</c:v>
                </c:pt>
                <c:pt idx="14">
                  <c:v>93.31108067375365</c:v>
                </c:pt>
                <c:pt idx="15">
                  <c:v>92.05254478500868</c:v>
                </c:pt>
                <c:pt idx="16">
                  <c:v>90.92592148730591</c:v>
                </c:pt>
                <c:pt idx="17">
                  <c:v>89.91557298028393</c:v>
                </c:pt>
                <c:pt idx="18">
                  <c:v>87.53328905019448</c:v>
                </c:pt>
                <c:pt idx="19">
                  <c:v>85.30554520825959</c:v>
                </c:pt>
                <c:pt idx="20">
                  <c:v>83.22234469996678</c:v>
                </c:pt>
                <c:pt idx="21">
                  <c:v>81.27392006171536</c:v>
                </c:pt>
                <c:pt idx="22">
                  <c:v>79.45087290189346</c:v>
                </c:pt>
                <c:pt idx="23">
                  <c:v>77.74425951714922</c:v>
                </c:pt>
                <c:pt idx="24">
                  <c:v>76.14563707559984</c:v>
                </c:pt>
                <c:pt idx="25">
                  <c:v>74.64708223656078</c:v>
                </c:pt>
                <c:pt idx="26">
                  <c:v>73.241191265814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482832006763951</c:v>
                </c:pt>
                <c:pt idx="1">
                  <c:v>0.6540490498456345</c:v>
                </c:pt>
                <c:pt idx="2">
                  <c:v>0.6596289038803824</c:v>
                </c:pt>
                <c:pt idx="3">
                  <c:v>0.6650316196918048</c:v>
                </c:pt>
                <c:pt idx="4">
                  <c:v>0.6702655006341203</c:v>
                </c:pt>
                <c:pt idx="5">
                  <c:v>0.675338339085903</c:v>
                </c:pt>
                <c:pt idx="6">
                  <c:v>0.6802574551603592</c:v>
                </c:pt>
                <c:pt idx="7">
                  <c:v>0.6850297319490104</c:v>
                </c:pt>
                <c:pt idx="8">
                  <c:v>0.6896616476556426</c:v>
                </c:pt>
                <c:pt idx="9">
                  <c:v>0.6941593049359958</c:v>
                </c:pt>
                <c:pt idx="10">
                  <c:v>0.6985284577226243</c:v>
                </c:pt>
                <c:pt idx="11">
                  <c:v>0.702774535782869</c:v>
                </c:pt>
                <c:pt idx="12">
                  <c:v>0.7069026672303291</c:v>
                </c:pt>
                <c:pt idx="13">
                  <c:v>0.7109176991860782</c:v>
                </c:pt>
                <c:pt idx="14">
                  <c:v>0.7148242167646447</c:v>
                </c:pt>
                <c:pt idx="15">
                  <c:v>0.7186265605411161</c:v>
                </c:pt>
                <c:pt idx="16">
                  <c:v>0.7223288426392591</c:v>
                </c:pt>
                <c:pt idx="17">
                  <c:v>0.725934961566022</c:v>
                </c:pt>
                <c:pt idx="18">
                  <c:v>0.7294486159049192</c:v>
                </c:pt>
                <c:pt idx="19">
                  <c:v>0.7328733169694139</c:v>
                </c:pt>
                <c:pt idx="20">
                  <c:v>0.7362124005072961</c:v>
                </c:pt>
                <c:pt idx="21">
                  <c:v>0.7394690375380705</c:v>
                </c:pt>
                <c:pt idx="22">
                  <c:v>0.7426462443973623</c:v>
                </c:pt>
                <c:pt idx="23">
                  <c:v>0.7457468920552254</c:v>
                </c:pt>
                <c:pt idx="24">
                  <c:v>0.7487737147688536</c:v>
                </c:pt>
                <c:pt idx="25">
                  <c:v>0.7517293181245142</c:v>
                </c:pt>
                <c:pt idx="26">
                  <c:v>0.75461618651841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0</c:v>
                </c:pt>
                <c:pt idx="7">
                  <c:v>92.78553543201443</c:v>
                </c:pt>
                <c:pt idx="8">
                  <c:v>86.49407149781565</c:v>
                </c:pt>
                <c:pt idx="9">
                  <c:v>83.94457663498342</c:v>
                </c:pt>
                <c:pt idx="10">
                  <c:v>81.59237464469055</c:v>
                </c:pt>
                <c:pt idx="11">
                  <c:v>79.41229983022087</c:v>
                </c:pt>
                <c:pt idx="12">
                  <c:v>77.38308434111192</c:v>
                </c:pt>
                <c:pt idx="13">
                  <c:v>76.52242328191122</c:v>
                </c:pt>
                <c:pt idx="14">
                  <c:v>75.67478764882785</c:v>
                </c:pt>
                <c:pt idx="15">
                  <c:v>74.83998943020484</c:v>
                </c:pt>
                <c:pt idx="16">
                  <c:v>74.0178408572248</c:v>
                </c:pt>
                <c:pt idx="17">
                  <c:v>73.208154403518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C$2:$C$19</c:f>
              <c:numCache>
                <c:formatCode>General</c:formatCode>
                <c:ptCount val="18"/>
                <c:pt idx="0">
                  <c:v>114.9419166324249</c:v>
                </c:pt>
                <c:pt idx="1">
                  <c:v>116.52475222540689</c:v>
                </c:pt>
                <c:pt idx="2">
                  <c:v>118.05379288481828</c:v>
                </c:pt>
                <c:pt idx="3">
                  <c:v>119.53108505963277</c:v>
                </c:pt>
                <c:pt idx="4">
                  <c:v>112.14506597356464</c:v>
                </c:pt>
                <c:pt idx="5">
                  <c:v>105.6728610158642</c:v>
                </c:pt>
                <c:pt idx="6">
                  <c:v>100.0</c:v>
                </c:pt>
                <c:pt idx="7">
                  <c:v>95.02808108410024</c:v>
                </c:pt>
                <c:pt idx="8">
                  <c:v>90.67622459924007</c:v>
                </c:pt>
                <c:pt idx="9">
                  <c:v>90.02976862443278</c:v>
                </c:pt>
                <c:pt idx="10">
                  <c:v>89.47668597586697</c:v>
                </c:pt>
                <c:pt idx="11">
                  <c:v>89.00302079171156</c:v>
                </c:pt>
                <c:pt idx="12">
                  <c:v>88.5968607706053</c:v>
                </c:pt>
                <c:pt idx="13">
                  <c:v>89.45975362949241</c:v>
                </c:pt>
                <c:pt idx="14">
                  <c:v>90.29630939898358</c:v>
                </c:pt>
                <c:pt idx="15">
                  <c:v>91.10726576504233</c:v>
                </c:pt>
                <c:pt idx="16">
                  <c:v>91.89334121818207</c:v>
                </c:pt>
                <c:pt idx="17">
                  <c:v>92.655235153661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D$2:$D$19</c:f>
              <c:numCache>
                <c:formatCode>General</c:formatCode>
                <c:ptCount val="18"/>
                <c:pt idx="0">
                  <c:v>100.2838687196161</c:v>
                </c:pt>
                <c:pt idx="1">
                  <c:v>104.48188064131556</c:v>
                </c:pt>
                <c:pt idx="2">
                  <c:v>108.55563490437348</c:v>
                </c:pt>
                <c:pt idx="3">
                  <c:v>112.50944507588414</c:v>
                </c:pt>
                <c:pt idx="4">
                  <c:v>107.86731139102645</c:v>
                </c:pt>
                <c:pt idx="5">
                  <c:v>103.70841809786155</c:v>
                </c:pt>
                <c:pt idx="6">
                  <c:v>100.0</c:v>
                </c:pt>
                <c:pt idx="7">
                  <c:v>96.70967861616064</c:v>
                </c:pt>
                <c:pt idx="8">
                  <c:v>93.81019290740558</c:v>
                </c:pt>
                <c:pt idx="9">
                  <c:v>94.59528431418552</c:v>
                </c:pt>
                <c:pt idx="10">
                  <c:v>95.39539509823405</c:v>
                </c:pt>
                <c:pt idx="11">
                  <c:v>96.20507004301308</c:v>
                </c:pt>
                <c:pt idx="12">
                  <c:v>97.01948358620038</c:v>
                </c:pt>
                <c:pt idx="13">
                  <c:v>99.17675847010051</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E$2:$E$19</c:f>
              <c:numCache>
                <c:formatCode>General</c:formatCode>
                <c:ptCount val="18"/>
                <c:pt idx="0">
                  <c:v>0.5041368128234104</c:v>
                </c:pt>
                <c:pt idx="1">
                  <c:v>0.5179107902449822</c:v>
                </c:pt>
                <c:pt idx="2">
                  <c:v>0.5309402283464691</c:v>
                </c:pt>
                <c:pt idx="3">
                  <c:v>0.543283906547878</c:v>
                </c:pt>
                <c:pt idx="4">
                  <c:v>0.5549945756107526</c:v>
                </c:pt>
                <c:pt idx="5">
                  <c:v>0.566119711220484</c:v>
                </c:pt>
                <c:pt idx="6">
                  <c:v>0.576702157288277</c:v>
                </c:pt>
                <c:pt idx="7">
                  <c:v>0.5867806773528417</c:v>
                </c:pt>
                <c:pt idx="8">
                  <c:v>0.5963904290423107</c:v>
                </c:pt>
                <c:pt idx="9">
                  <c:v>0.6055633738368036</c:v>
                </c:pt>
                <c:pt idx="10">
                  <c:v>0.6143286321959858</c:v>
                </c:pt>
                <c:pt idx="11">
                  <c:v>0.6227127923656383</c:v>
                </c:pt>
                <c:pt idx="12">
                  <c:v>0.630740179762114</c:v>
                </c:pt>
                <c:pt idx="13">
                  <c:v>0.6384330926837366</c:v>
                </c:pt>
                <c:pt idx="14">
                  <c:v>0.6458120091595787</c:v>
                </c:pt>
                <c:pt idx="15">
                  <c:v>0.6528957689763872</c:v>
                </c:pt>
                <c:pt idx="16">
                  <c:v>0.6597017342905758</c:v>
                </c:pt>
                <c:pt idx="17">
                  <c:v>0.6662459317080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0</c:v>
                </c:pt>
                <c:pt idx="9">
                  <c:v>97.46900369441369</c:v>
                </c:pt>
                <c:pt idx="10">
                  <c:v>95.21557780603955</c:v>
                </c:pt>
                <c:pt idx="11">
                  <c:v>93.18708443920806</c:v>
                </c:pt>
                <c:pt idx="12">
                  <c:v>86.5098557070563</c:v>
                </c:pt>
                <c:pt idx="13">
                  <c:v>80.75416679853967</c:v>
                </c:pt>
                <c:pt idx="14">
                  <c:v>75.78135423745996</c:v>
                </c:pt>
                <c:pt idx="15">
                  <c:v>71.46651679899423</c:v>
                </c:pt>
                <c:pt idx="16">
                  <c:v>69.51295400059816</c:v>
                </c:pt>
                <c:pt idx="17">
                  <c:v>67.65611846884624</c:v>
                </c:pt>
                <c:pt idx="18">
                  <c:v>65.88949962609675</c:v>
                </c:pt>
                <c:pt idx="19">
                  <c:v>63.12343426214504</c:v>
                </c:pt>
                <c:pt idx="20">
                  <c:v>60.637715096659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0</c:v>
                </c:pt>
                <c:pt idx="9">
                  <c:v>99.06882864959069</c:v>
                </c:pt>
                <c:pt idx="10">
                  <c:v>98.34225989919653</c:v>
                </c:pt>
                <c:pt idx="11">
                  <c:v>97.77844072490944</c:v>
                </c:pt>
                <c:pt idx="12">
                  <c:v>92.18430680589633</c:v>
                </c:pt>
                <c:pt idx="13">
                  <c:v>87.37144281488725</c:v>
                </c:pt>
                <c:pt idx="14">
                  <c:v>83.23195107897229</c:v>
                </c:pt>
                <c:pt idx="15">
                  <c:v>79.66444401452715</c:v>
                </c:pt>
                <c:pt idx="16">
                  <c:v>78.63038526869612</c:v>
                </c:pt>
                <c:pt idx="17">
                  <c:v>77.64328033665045</c:v>
                </c:pt>
                <c:pt idx="18">
                  <c:v>76.7002915770919</c:v>
                </c:pt>
                <c:pt idx="19">
                  <c:v>74.51864098389836</c:v>
                </c:pt>
                <c:pt idx="20">
                  <c:v>72.58207013175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D$2:$D$22</c:f>
              <c:numCache>
                <c:formatCode>General</c:formatCode>
                <c:ptCount val="21"/>
                <c:pt idx="0">
                  <c:v>139.0056810574299</c:v>
                </c:pt>
                <c:pt idx="1">
                  <c:v>135.50028648127847</c:v>
                </c:pt>
                <c:pt idx="2">
                  <c:v>132.5240717922732</c:v>
                </c:pt>
                <c:pt idx="3">
                  <c:v>129.9834764766446</c:v>
                </c:pt>
                <c:pt idx="4">
                  <c:v>131.49940500325684</c:v>
                </c:pt>
                <c:pt idx="5">
                  <c:v>132.94712950459686</c:v>
                </c:pt>
                <c:pt idx="6">
                  <c:v>134.3296577339909</c:v>
                </c:pt>
                <c:pt idx="7">
                  <c:v>115.14683441087317</c:v>
                </c:pt>
                <c:pt idx="8">
                  <c:v>100.0</c:v>
                </c:pt>
                <c:pt idx="9">
                  <c:v>99.95103288598426</c:v>
                </c:pt>
                <c:pt idx="10">
                  <c:v>100.06487008664581</c:v>
                </c:pt>
                <c:pt idx="11">
                  <c:v>100.30605729484381</c:v>
                </c:pt>
                <c:pt idx="12">
                  <c:v>95.32168219895993</c:v>
                </c:pt>
                <c:pt idx="13">
                  <c:v>91.03611242934448</c:v>
                </c:pt>
                <c:pt idx="14">
                  <c:v>87.35989877560868</c:v>
                </c:pt>
                <c:pt idx="15">
                  <c:v>84.20568329645552</c:v>
                </c:pt>
                <c:pt idx="16">
                  <c:v>83.67402465749866</c:v>
                </c:pt>
                <c:pt idx="17">
                  <c:v>83.16176736201243</c:v>
                </c:pt>
                <c:pt idx="18">
                  <c:v>82.66813234944762</c:v>
                </c:pt>
                <c:pt idx="19">
                  <c:v>80.8051197857029</c:v>
                </c:pt>
                <c:pt idx="20">
                  <c:v>79.167246325099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E$2:$E$22</c:f>
              <c:numCache>
                <c:formatCode>General</c:formatCode>
                <c:ptCount val="21"/>
                <c:pt idx="0">
                  <c:v>0.6013439638068119</c:v>
                </c:pt>
                <c:pt idx="1">
                  <c:v>0.608865775810457</c:v>
                </c:pt>
                <c:pt idx="2">
                  <c:v>0.6161090021843374</c:v>
                </c:pt>
                <c:pt idx="3">
                  <c:v>0.6230888385082585</c:v>
                </c:pt>
                <c:pt idx="4">
                  <c:v>0.6298193949634682</c:v>
                </c:pt>
                <c:pt idx="5">
                  <c:v>0.6363137915430565</c:v>
                </c:pt>
                <c:pt idx="6">
                  <c:v>0.6425842434130038</c:v>
                </c:pt>
                <c:pt idx="7">
                  <c:v>0.6486421375924443</c:v>
                </c:pt>
                <c:pt idx="8">
                  <c:v>0.6544981019659035</c:v>
                </c:pt>
                <c:pt idx="9">
                  <c:v>0.6601620675074461</c:v>
                </c:pt>
                <c:pt idx="10">
                  <c:v>0.6656433244831326</c:v>
                </c:pt>
                <c:pt idx="11">
                  <c:v>0.6709505733008605</c:v>
                </c:pt>
                <c:pt idx="12">
                  <c:v>0.6760919705930347</c:v>
                </c:pt>
                <c:pt idx="13">
                  <c:v>0.6810751710454496</c:v>
                </c:pt>
                <c:pt idx="14">
                  <c:v>0.6859073654235488</c:v>
                </c:pt>
                <c:pt idx="15">
                  <c:v>0.6905953151933466</c:v>
                </c:pt>
                <c:pt idx="16">
                  <c:v>0.695145384087562</c:v>
                </c:pt>
                <c:pt idx="17">
                  <c:v>0.6995635669268727</c:v>
                </c:pt>
                <c:pt idx="18">
                  <c:v>0.7038555159707746</c:v>
                </c:pt>
                <c:pt idx="19">
                  <c:v>0.7080265650416087</c:v>
                </c:pt>
                <c:pt idx="20">
                  <c:v>0.71208175163825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0</c:v>
                </c:pt>
                <c:pt idx="11">
                  <c:v>96.51086414057592</c:v>
                </c:pt>
                <c:pt idx="12">
                  <c:v>93.29573897123731</c:v>
                </c:pt>
                <c:pt idx="13">
                  <c:v>90.3373995547799</c:v>
                </c:pt>
                <c:pt idx="14">
                  <c:v>87.6168564708782</c:v>
                </c:pt>
                <c:pt idx="15">
                  <c:v>85.11384654749983</c:v>
                </c:pt>
                <c:pt idx="16">
                  <c:v>82.80759322998455</c:v>
                </c:pt>
                <c:pt idx="17">
                  <c:v>80.67764232254667</c:v>
                </c:pt>
                <c:pt idx="18">
                  <c:v>77.50834316797773</c:v>
                </c:pt>
                <c:pt idx="19">
                  <c:v>74.55139071726411</c:v>
                </c:pt>
                <c:pt idx="20">
                  <c:v>71.79019081426466</c:v>
                </c:pt>
                <c:pt idx="21">
                  <c:v>69.20920920587646</c:v>
                </c:pt>
                <c:pt idx="22">
                  <c:v>66.79406681186876</c:v>
                </c:pt>
                <c:pt idx="23">
                  <c:v>64.53154680446474</c:v>
                </c:pt>
                <c:pt idx="24">
                  <c:v>62.40954801812772</c:v>
                </c:pt>
                <c:pt idx="25">
                  <c:v>60.41701028944034</c:v>
                </c:pt>
                <c:pt idx="26">
                  <c:v>58.54382881739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c:v>
                </c:pt>
                <c:pt idx="5">
                  <c:v>110.07944572702839</c:v>
                </c:pt>
                <c:pt idx="6">
                  <c:v>106.13852946069713</c:v>
                </c:pt>
                <c:pt idx="7">
                  <c:v>102.58385726305352</c:v>
                </c:pt>
                <c:pt idx="8">
                  <c:v>101.6910222976358</c:v>
                </c:pt>
                <c:pt idx="9">
                  <c:v>100.83040004386356</c:v>
                </c:pt>
                <c:pt idx="10">
                  <c:v>100.0</c:v>
                </c:pt>
                <c:pt idx="11">
                  <c:v>97.83888238960964</c:v>
                </c:pt>
                <c:pt idx="12">
                  <c:v>95.86484486201421</c:v>
                </c:pt>
                <c:pt idx="13">
                  <c:v>94.07094631580495</c:v>
                </c:pt>
                <c:pt idx="14">
                  <c:v>92.44748817382946</c:v>
                </c:pt>
                <c:pt idx="15">
                  <c:v>90.9824118917175</c:v>
                </c:pt>
                <c:pt idx="16">
                  <c:v>89.66202876632654</c:v>
                </c:pt>
                <c:pt idx="17">
                  <c:v>88.4718950250709</c:v>
                </c:pt>
                <c:pt idx="18">
                  <c:v>86.05267491583768</c:v>
                </c:pt>
                <c:pt idx="19">
                  <c:v>83.78756802787996</c:v>
                </c:pt>
                <c:pt idx="20">
                  <c:v>81.66602894395957</c:v>
                </c:pt>
                <c:pt idx="21">
                  <c:v>79.67788604927026</c:v>
                </c:pt>
                <c:pt idx="22">
                  <c:v>77.81351610458698</c:v>
                </c:pt>
                <c:pt idx="23">
                  <c:v>76.06392352116713</c:v>
                </c:pt>
                <c:pt idx="24">
                  <c:v>74.42075720313969</c:v>
                </c:pt>
                <c:pt idx="25">
                  <c:v>72.8762907061245</c:v>
                </c:pt>
                <c:pt idx="26">
                  <c:v>71.423383803831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0</c:v>
                </c:pt>
                <c:pt idx="11">
                  <c:v>98.53186449015698</c:v>
                </c:pt>
                <c:pt idx="12">
                  <c:v>97.20308604048864</c:v>
                </c:pt>
                <c:pt idx="13">
                  <c:v>96.01257149649594</c:v>
                </c:pt>
                <c:pt idx="14">
                  <c:v>94.95587261724366</c:v>
                </c:pt>
                <c:pt idx="15">
                  <c:v>94.0255434408224</c:v>
                </c:pt>
                <c:pt idx="16">
                  <c:v>93.21186282321942</c:v>
                </c:pt>
                <c:pt idx="17">
                  <c:v>92.5037389337868</c:v>
                </c:pt>
                <c:pt idx="18">
                  <c:v>90.49294464536337</c:v>
                </c:pt>
                <c:pt idx="19">
                  <c:v>88.60178278853387</c:v>
                </c:pt>
                <c:pt idx="20">
                  <c:v>86.823524317609</c:v>
                </c:pt>
                <c:pt idx="21">
                  <c:v>85.15135426584932</c:v>
                </c:pt>
                <c:pt idx="22">
                  <c:v>83.57860193074684</c:v>
                </c:pt>
                <c:pt idx="23">
                  <c:v>82.09887083123223</c:v>
                </c:pt>
                <c:pt idx="24">
                  <c:v>80.70610015026534</c:v>
                </c:pt>
                <c:pt idx="25">
                  <c:v>79.3945834367108</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292334442246171</c:v>
                </c:pt>
                <c:pt idx="1">
                  <c:v>0.6353115844832299</c:v>
                </c:pt>
                <c:pt idx="2">
                  <c:v>0.6411936557012423</c:v>
                </c:pt>
                <c:pt idx="3">
                  <c:v>0.6468889944996352</c:v>
                </c:pt>
                <c:pt idx="4">
                  <c:v>0.6524063539605784</c:v>
                </c:pt>
                <c:pt idx="5">
                  <c:v>0.6577539485150312</c:v>
                </c:pt>
                <c:pt idx="6">
                  <c:v>0.6629394947496519</c:v>
                </c:pt>
                <c:pt idx="7">
                  <c:v>0.6679702485593585</c:v>
                </c:pt>
                <c:pt idx="8">
                  <c:v>0.6728530390217209</c:v>
                </c:pt>
                <c:pt idx="9">
                  <c:v>0.677594299325754</c:v>
                </c:pt>
                <c:pt idx="10">
                  <c:v>0.6822000950496719</c:v>
                </c:pt>
                <c:pt idx="11">
                  <c:v>0.6866761500489721</c:v>
                </c:pt>
                <c:pt idx="12">
                  <c:v>0.6910278701871808</c:v>
                </c:pt>
                <c:pt idx="13">
                  <c:v>0.6952603651161234</c:v>
                </c:pt>
                <c:pt idx="14">
                  <c:v>0.6993784682902301</c:v>
                </c:pt>
                <c:pt idx="15">
                  <c:v>0.7033867553796936</c:v>
                </c:pt>
                <c:pt idx="16">
                  <c:v>0.7072895612299609</c:v>
                </c:pt>
                <c:pt idx="17">
                  <c:v>0.7110909954997016</c:v>
                </c:pt>
                <c:pt idx="18">
                  <c:v>0.7147949570958594</c:v>
                </c:pt>
                <c:pt idx="19">
                  <c:v>0.7184051475123675</c:v>
                </c:pt>
                <c:pt idx="20">
                  <c:v>0.7219250831684628</c:v>
                </c:pt>
                <c:pt idx="21">
                  <c:v>0.7253581068330496</c:v>
                </c:pt>
                <c:pt idx="22">
                  <c:v>0.7287073982131345</c:v>
                </c:pt>
                <c:pt idx="23">
                  <c:v>0.7319759837768316</c:v>
                </c:pt>
                <c:pt idx="24">
                  <c:v>0.7351667458747265</c:v>
                </c:pt>
                <c:pt idx="25">
                  <c:v>0.7382824312173767</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c:v>
                </c:pt>
                <c:pt idx="7">
                  <c:v>106.35238205788744</c:v>
                </c:pt>
                <c:pt idx="8">
                  <c:v>104.12650377541777</c:v>
                </c:pt>
                <c:pt idx="9">
                  <c:v>102.01234247083096</c:v>
                </c:pt>
                <c:pt idx="10">
                  <c:v>100.0</c:v>
                </c:pt>
                <c:pt idx="11">
                  <c:v>97.90387586751692</c:v>
                </c:pt>
                <c:pt idx="12">
                  <c:v>95.96401001838099</c:v>
                </c:pt>
                <c:pt idx="13">
                  <c:v>94.16013195321769</c:v>
                </c:pt>
                <c:pt idx="14">
                  <c:v>92.47519884355962</c:v>
                </c:pt>
                <c:pt idx="15">
                  <c:v>90.8948555505306</c:v>
                </c:pt>
                <c:pt idx="16">
                  <c:v>89.40697877910713</c:v>
                </c:pt>
                <c:pt idx="17">
                  <c:v>88.0012963160042</c:v>
                </c:pt>
                <c:pt idx="18">
                  <c:v>84.88189531069602</c:v>
                </c:pt>
                <c:pt idx="19">
                  <c:v>81.96946349220163</c:v>
                </c:pt>
                <c:pt idx="20">
                  <c:v>79.24515423499213</c:v>
                </c:pt>
                <c:pt idx="21">
                  <c:v>76.69210615614975</c:v>
                </c:pt>
                <c:pt idx="22">
                  <c:v>74.29522235252377</c:v>
                </c:pt>
                <c:pt idx="23">
                  <c:v>72.04097287069476</c:v>
                </c:pt>
                <c:pt idx="24">
                  <c:v>69.91721898330465</c:v>
                </c:pt>
                <c:pt idx="25">
                  <c:v>67.91305742314164</c:v>
                </c:pt>
                <c:pt idx="26">
                  <c:v>66.018682595380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0</c:v>
                </c:pt>
                <c:pt idx="11">
                  <c:v>99.29253202306985</c:v>
                </c:pt>
                <c:pt idx="12">
                  <c:v>98.68632506091717</c:v>
                </c:pt>
                <c:pt idx="13">
                  <c:v>98.1668811030375</c:v>
                </c:pt>
                <c:pt idx="14">
                  <c:v>97.72196632496404</c:v>
                </c:pt>
                <c:pt idx="15">
                  <c:v>97.34126085766424</c:v>
                </c:pt>
                <c:pt idx="16">
                  <c:v>97.01605412103127</c:v>
                </c:pt>
                <c:pt idx="17">
                  <c:v>96.7389840649336</c:v>
                </c:pt>
                <c:pt idx="18">
                  <c:v>94.50872046938429</c:v>
                </c:pt>
                <c:pt idx="19">
                  <c:v>92.42411988601121</c:v>
                </c:pt>
                <c:pt idx="20">
                  <c:v>90.47235992668836</c:v>
                </c:pt>
                <c:pt idx="21">
                  <c:v>88.64186122659261</c:v>
                </c:pt>
                <c:pt idx="22">
                  <c:v>86.92216693842552</c:v>
                </c:pt>
                <c:pt idx="23">
                  <c:v>85.30383148595374</c:v>
                </c:pt>
                <c:pt idx="24">
                  <c:v>83.77831907792473</c:v>
                </c:pt>
                <c:pt idx="25">
                  <c:v>82.3379118259981</c:v>
                </c:pt>
                <c:pt idx="26">
                  <c:v>80.975626954107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8</c:v>
                </c:pt>
                <c:pt idx="7">
                  <c:v>99.23842913063426</c:v>
                </c:pt>
                <c:pt idx="8">
                  <c:v>99.48312841008683</c:v>
                </c:pt>
                <c:pt idx="9">
                  <c:v>99.73779381696266</c:v>
                </c:pt>
                <c:pt idx="10">
                  <c:v>10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c:v>
                </c:pt>
                <c:pt idx="20">
                  <c:v>96.9142866678949</c:v>
                </c:pt>
                <c:pt idx="21">
                  <c:v>95.50197904546495</c:v>
                </c:pt>
                <c:pt idx="22">
                  <c:v>94.1737696613364</c:v>
                </c:pt>
                <c:pt idx="23">
                  <c:v>92.92265268186244</c:v>
                </c:pt>
                <c:pt idx="24">
                  <c:v>91.74224107929405</c:v>
                </c:pt>
                <c:pt idx="25">
                  <c:v>90.62671386908285</c:v>
                </c:pt>
                <c:pt idx="26">
                  <c:v>89.570766900537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5808247993680448</c:v>
                </c:pt>
                <c:pt idx="1">
                  <c:v>0.5876965239685689</c:v>
                </c:pt>
                <c:pt idx="2">
                  <c:v>0.5943465800335919</c:v>
                </c:pt>
                <c:pt idx="3">
                  <c:v>0.6007855232076618</c:v>
                </c:pt>
                <c:pt idx="4">
                  <c:v>0.607023249407542</c:v>
                </c:pt>
                <c:pt idx="5">
                  <c:v>0.613069045570503</c:v>
                </c:pt>
                <c:pt idx="6">
                  <c:v>0.6189316357891318</c:v>
                </c:pt>
                <c:pt idx="7">
                  <c:v>0.6246192233146671</c:v>
                </c:pt>
                <c:pt idx="8">
                  <c:v>0.6301395288541571</c:v>
                </c:pt>
                <c:pt idx="9">
                  <c:v>0.6354998255374302</c:v>
                </c:pt>
                <c:pt idx="10">
                  <c:v>0.6407069708868958</c:v>
                </c:pt>
                <c:pt idx="11">
                  <c:v>0.6457674360856719</c:v>
                </c:pt>
                <c:pt idx="12">
                  <c:v>0.6506873328067041</c:v>
                </c:pt>
                <c:pt idx="13">
                  <c:v>0.6554724378367491</c:v>
                </c:pt>
                <c:pt idx="14">
                  <c:v>0.6601282157038201</c:v>
                </c:pt>
                <c:pt idx="15">
                  <c:v>0.6646598394944359</c:v>
                </c:pt>
                <c:pt idx="16">
                  <c:v>0.6690722100274038</c:v>
                </c:pt>
                <c:pt idx="17">
                  <c:v>0.6733699735335414</c:v>
                </c:pt>
                <c:pt idx="18">
                  <c:v>0.6775575379754191</c:v>
                </c:pt>
                <c:pt idx="19">
                  <c:v>0.681639088127629</c:v>
                </c:pt>
                <c:pt idx="20">
                  <c:v>0.6856185995260335</c:v>
                </c:pt>
                <c:pt idx="21">
                  <c:v>0.689499851383737</c:v>
                </c:pt>
                <c:pt idx="22">
                  <c:v>0.693286438561984</c:v>
                </c:pt>
                <c:pt idx="23">
                  <c:v>0.6969817826756952</c:v>
                </c:pt>
                <c:pt idx="24">
                  <c:v>0.7005891424057463</c:v>
                </c:pt>
                <c:pt idx="25">
                  <c:v>0.7041116230833258</c:v>
                </c:pt>
                <c:pt idx="26">
                  <c:v>0.70755218560561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3</c:v>
                </c:pt>
                <c:pt idx="3">
                  <c:v>0.14435341684110004</c:v>
                </c:pt>
                <c:pt idx="4">
                  <c:v>0.04928142874526693</c:v>
                </c:pt>
                <c:pt idx="5">
                  <c:v>0.027216288454477273</c:v>
                </c:pt>
                <c:pt idx="6">
                  <c:v>0.02123921661781242</c:v>
                </c:pt>
                <c:pt idx="7">
                  <c:v>0.012449851055565399</c:v>
                </c:pt>
                <c:pt idx="8">
                  <c:v>0.008426388850854094</c:v>
                </c:pt>
                <c:pt idx="9">
                  <c:v>0.0077413567869773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0</c:v>
                </c:pt>
                <c:pt idx="8">
                  <c:v>96.3926792618435</c:v>
                </c:pt>
                <c:pt idx="9">
                  <c:v>93.0796057710543</c:v>
                </c:pt>
                <c:pt idx="10">
                  <c:v>92.15327999682866</c:v>
                </c:pt>
                <c:pt idx="11">
                  <c:v>91.24120650436929</c:v>
                </c:pt>
                <c:pt idx="12">
                  <c:v>90.34306549891478</c:v>
                </c:pt>
                <c:pt idx="13">
                  <c:v>89.45854626272055</c:v>
                </c:pt>
                <c:pt idx="14">
                  <c:v>88.58734687005901</c:v>
                </c:pt>
                <c:pt idx="15">
                  <c:v>84.61327673680364</c:v>
                </c:pt>
                <c:pt idx="16">
                  <c:v>81.220209513830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0</c:v>
                </c:pt>
                <c:pt idx="8">
                  <c:v>98.52753121151785</c:v>
                </c:pt>
                <c:pt idx="9">
                  <c:v>97.20266489843316</c:v>
                </c:pt>
                <c:pt idx="10">
                  <c:v>98.27729364915938</c:v>
                </c:pt>
                <c:pt idx="11">
                  <c:v>99.32626269828114</c:v>
                </c:pt>
                <c:pt idx="12">
                  <c:v>100.35017193578798</c:v>
                </c:pt>
                <c:pt idx="13">
                  <c:v>101.3496028015745</c:v>
                </c:pt>
                <c:pt idx="14">
                  <c:v>102.32511898226824</c:v>
                </c:pt>
                <c:pt idx="15">
                  <c:v>99.61147206976271</c:v>
                </c:pt>
                <c:pt idx="16">
                  <c:v>97.418135156318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D$2:$D$18</c:f>
              <c:numCache>
                <c:formatCode>General</c:formatCode>
                <c:ptCount val="17"/>
                <c:pt idx="0">
                  <c:v>100.06556698228088</c:v>
                </c:pt>
                <c:pt idx="1">
                  <c:v>99.46864944864568</c:v>
                </c:pt>
                <c:pt idx="2">
                  <c:v>99.19362176583122</c:v>
                </c:pt>
                <c:pt idx="3">
                  <c:v>99.17476898600948</c:v>
                </c:pt>
                <c:pt idx="4">
                  <c:v>99.35765599131308</c:v>
                </c:pt>
                <c:pt idx="5">
                  <c:v>99.69799439193291</c:v>
                </c:pt>
                <c:pt idx="6">
                  <c:v>99.81966093265943</c:v>
                </c:pt>
                <c:pt idx="7">
                  <c:v>100.0</c:v>
                </c:pt>
                <c:pt idx="8">
                  <c:v>100.22362545240664</c:v>
                </c:pt>
                <c:pt idx="9">
                  <c:v>100.4781543720141</c:v>
                </c:pt>
                <c:pt idx="10">
                  <c:v>103.14065765834452</c:v>
                </c:pt>
                <c:pt idx="11">
                  <c:v>105.74604878728991</c:v>
                </c:pt>
                <c:pt idx="12">
                  <c:v>108.29564370647307</c:v>
                </c:pt>
                <c:pt idx="13">
                  <c:v>110.7907187664563</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E$2:$E$18</c:f>
              <c:numCache>
                <c:formatCode>General</c:formatCode>
                <c:ptCount val="17"/>
                <c:pt idx="0">
                  <c:v>0.47793645463309964</c:v>
                </c:pt>
                <c:pt idx="1">
                  <c:v>0.491322699386097</c:v>
                </c:pt>
                <c:pt idx="2">
                  <c:v>0.5040396319014446</c:v>
                </c:pt>
                <c:pt idx="3">
                  <c:v>0.5161362262453119</c:v>
                </c:pt>
                <c:pt idx="4">
                  <c:v>0.5276567922870902</c:v>
                </c:pt>
                <c:pt idx="5">
                  <c:v>0.5386415180478555</c:v>
                </c:pt>
                <c:pt idx="6">
                  <c:v>0.5491269380922225</c:v>
                </c:pt>
                <c:pt idx="7">
                  <c:v>0.5591463394679509</c:v>
                </c:pt>
                <c:pt idx="8">
                  <c:v>0.5687301146969086</c:v>
                </c:pt>
                <c:pt idx="9">
                  <c:v>0.5779060697033573</c:v>
                </c:pt>
                <c:pt idx="10">
                  <c:v>0.5866996932512039</c:v>
                </c:pt>
                <c:pt idx="11">
                  <c:v>0.5951343933889345</c:v>
                </c:pt>
                <c:pt idx="12">
                  <c:v>0.6032317055211559</c:v>
                </c:pt>
                <c:pt idx="13">
                  <c:v>0.6110114760011329</c:v>
                </c:pt>
                <c:pt idx="14">
                  <c:v>0.6184920245395729</c:v>
                </c:pt>
                <c:pt idx="15">
                  <c:v>0.6256902882275054</c:v>
                </c:pt>
                <c:pt idx="16">
                  <c:v>0.63262194955662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B$2:$B$23</c:f>
              <c:numCache>
                <c:formatCode>General</c:formatCode>
                <c:ptCount val="22"/>
                <c:pt idx="0">
                  <c:v>136.19674613671583</c:v>
                </c:pt>
                <c:pt idx="1">
                  <c:v>130.87501308163908</c:v>
                </c:pt>
                <c:pt idx="2">
                  <c:v>128.6337633946816</c:v>
                </c:pt>
                <c:pt idx="3">
                  <c:v>126.47331266670352</c:v>
                </c:pt>
                <c:pt idx="4">
                  <c:v>124.38873094096215</c:v>
                </c:pt>
                <c:pt idx="5">
                  <c:v>115.02725433445184</c:v>
                </c:pt>
                <c:pt idx="6">
                  <c:v>107.53554318554828</c:v>
                </c:pt>
                <c:pt idx="7">
                  <c:v>104.69967810098177</c:v>
                </c:pt>
                <c:pt idx="8">
                  <c:v>102.2148945191527</c:v>
                </c:pt>
                <c:pt idx="9">
                  <c:v>100.0</c:v>
                </c:pt>
                <c:pt idx="10">
                  <c:v>97.39650690986655</c:v>
                </c:pt>
                <c:pt idx="11">
                  <c:v>95.05978468844881</c:v>
                </c:pt>
                <c:pt idx="12">
                  <c:v>92.94276889188137</c:v>
                </c:pt>
                <c:pt idx="13">
                  <c:v>91.00870202086601</c:v>
                </c:pt>
                <c:pt idx="14">
                  <c:v>89.57096098450613</c:v>
                </c:pt>
                <c:pt idx="15">
                  <c:v>88.18971171022243</c:v>
                </c:pt>
                <c:pt idx="16">
                  <c:v>86.86072158355684</c:v>
                </c:pt>
                <c:pt idx="17">
                  <c:v>85.59772135894683</c:v>
                </c:pt>
                <c:pt idx="18">
                  <c:v>84.40265397406381</c:v>
                </c:pt>
                <c:pt idx="19">
                  <c:v>83.26757106226738</c:v>
                </c:pt>
                <c:pt idx="20">
                  <c:v>82.1858233808865</c:v>
                </c:pt>
                <c:pt idx="21">
                  <c:v>81.151822389911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0</c:v>
                </c:pt>
                <c:pt idx="10">
                  <c:v>98.93819859152316</c:v>
                </c:pt>
                <c:pt idx="11">
                  <c:v>98.06923212821597</c:v>
                </c:pt>
                <c:pt idx="12">
                  <c:v>97.35645629842892</c:v>
                </c:pt>
                <c:pt idx="13">
                  <c:v>96.77120987929769</c:v>
                </c:pt>
                <c:pt idx="14">
                  <c:v>96.66007690844158</c:v>
                </c:pt>
                <c:pt idx="15">
                  <c:v>96.56528875049645</c:v>
                </c:pt>
                <c:pt idx="16">
                  <c:v>96.48482495501719</c:v>
                </c:pt>
                <c:pt idx="17">
                  <c:v>96.43715040665619</c:v>
                </c:pt>
                <c:pt idx="18">
                  <c:v>96.42708030632168</c:v>
                </c:pt>
                <c:pt idx="19">
                  <c:v>96.44863404143484</c:v>
                </c:pt>
                <c:pt idx="20">
                  <c:v>96.49685329050689</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2</c:v>
                </c:pt>
                <c:pt idx="7">
                  <c:v>99.60073115830673</c:v>
                </c:pt>
                <c:pt idx="8">
                  <c:v>99.72592638974928</c:v>
                </c:pt>
                <c:pt idx="9">
                  <c:v>100.0</c:v>
                </c:pt>
                <c:pt idx="10">
                  <c:v>99.76814562997949</c:v>
                </c:pt>
                <c:pt idx="11">
                  <c:v>99.68926213575298</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E$2:$E$23</c:f>
              <c:numCache>
                <c:formatCode>General</c:formatCode>
                <c:ptCount val="22"/>
                <c:pt idx="0">
                  <c:v>0.5938366096348477</c:v>
                </c:pt>
                <c:pt idx="1">
                  <c:v>0.6012213985505777</c:v>
                </c:pt>
                <c:pt idx="2">
                  <c:v>0.6083424450050315</c:v>
                </c:pt>
                <c:pt idx="3">
                  <c:v>0.615213630180382</c:v>
                </c:pt>
                <c:pt idx="4">
                  <c:v>0.6218478779358925</c:v>
                </c:pt>
                <c:pt idx="5">
                  <c:v>0.6282572359369792</c:v>
                </c:pt>
                <c:pt idx="6">
                  <c:v>0.6344529486713628</c:v>
                </c:pt>
                <c:pt idx="7">
                  <c:v>0.6404455232833077</c:v>
                </c:pt>
                <c:pt idx="8">
                  <c:v>0.6462447890368029</c:v>
                </c:pt>
                <c:pt idx="9">
                  <c:v>0.6518599511155838</c:v>
                </c:pt>
                <c:pt idx="10">
                  <c:v>0.6572996393794028</c:v>
                </c:pt>
                <c:pt idx="11">
                  <c:v>0.6625719526197196</c:v>
                </c:pt>
                <c:pt idx="12">
                  <c:v>0.6676844987921481</c:v>
                </c:pt>
                <c:pt idx="13">
                  <c:v>0.6726444316459966</c:v>
                </c:pt>
                <c:pt idx="14">
                  <c:v>0.6774584841217909</c:v>
                </c:pt>
                <c:pt idx="15">
                  <c:v>0.6821329988446634</c:v>
                </c:pt>
                <c:pt idx="16">
                  <c:v>0.6866739560040254</c:v>
                </c:pt>
                <c:pt idx="17">
                  <c:v>0.6910869988772081</c:v>
                </c:pt>
                <c:pt idx="18">
                  <c:v>0.6953774572261358</c:v>
                </c:pt>
                <c:pt idx="19">
                  <c:v>0.6995503687709832</c:v>
                </c:pt>
                <c:pt idx="20">
                  <c:v>0.7036104989227266</c:v>
                </c:pt>
                <c:pt idx="21">
                  <c:v>0.70756235893709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0</c:v>
                </c:pt>
                <c:pt idx="11">
                  <c:v>99.0609021624369</c:v>
                </c:pt>
                <c:pt idx="12">
                  <c:v>98.15331732497677</c:v>
                </c:pt>
                <c:pt idx="13">
                  <c:v>97.27495035316484</c:v>
                </c:pt>
                <c:pt idx="14">
                  <c:v>96.42376407154899</c:v>
                </c:pt>
                <c:pt idx="15">
                  <c:v>95.59794252835995</c:v>
                </c:pt>
                <c:pt idx="16">
                  <c:v>93.76899509820113</c:v>
                </c:pt>
                <c:pt idx="17">
                  <c:v>92.01564589823317</c:v>
                </c:pt>
                <c:pt idx="18">
                  <c:v>90.33293712817209</c:v>
                </c:pt>
                <c:pt idx="19">
                  <c:v>88.71634588315398</c:v>
                </c:pt>
                <c:pt idx="20">
                  <c:v>87.16173745965055</c:v>
                </c:pt>
                <c:pt idx="21">
                  <c:v>85.66532451132464</c:v>
                </c:pt>
                <c:pt idx="22">
                  <c:v>84.22363122381734</c:v>
                </c:pt>
                <c:pt idx="23">
                  <c:v>82.83346180862287</c:v>
                </c:pt>
                <c:pt idx="24">
                  <c:v>81.49187272474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0.1279828199393</c:v>
                </c:pt>
                <c:pt idx="1">
                  <c:v>100.07785709226742</c:v>
                </c:pt>
                <c:pt idx="2">
                  <c:v>99.6213595381735</c:v>
                </c:pt>
                <c:pt idx="3">
                  <c:v>99.24831579689574</c:v>
                </c:pt>
                <c:pt idx="4">
                  <c:v>98.94476426995372</c:v>
                </c:pt>
                <c:pt idx="5">
                  <c:v>98.69955841508613</c:v>
                </c:pt>
                <c:pt idx="6">
                  <c:v>98.86050707127936</c:v>
                </c:pt>
                <c:pt idx="7">
                  <c:v>99.02218020173603</c:v>
                </c:pt>
                <c:pt idx="8">
                  <c:v>99.18406056350261</c:v>
                </c:pt>
                <c:pt idx="9">
                  <c:v>99.58775139936172</c:v>
                </c:pt>
                <c:pt idx="10">
                  <c:v>10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8</c:v>
                </c:pt>
                <c:pt idx="20">
                  <c:v>99.28037516261598</c:v>
                </c:pt>
                <c:pt idx="21">
                  <c:v>98.7831028551036</c:v>
                </c:pt>
                <c:pt idx="22">
                  <c:v>98.30718244309084</c:v>
                </c:pt>
                <c:pt idx="23">
                  <c:v>97.8511930866066</c:v>
                </c:pt>
                <c:pt idx="24">
                  <c:v>97.41383077892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75.62675171779468</c:v>
                </c:pt>
                <c:pt idx="1">
                  <c:v>78.38643122602234</c:v>
                </c:pt>
                <c:pt idx="2">
                  <c:v>80.71394345584706</c:v>
                </c:pt>
                <c:pt idx="3">
                  <c:v>83.0057989076033</c:v>
                </c:pt>
                <c:pt idx="4">
                  <c:v>85.26099219012573</c:v>
                </c:pt>
                <c:pt idx="5">
                  <c:v>87.47900331886805</c:v>
                </c:pt>
                <c:pt idx="6">
                  <c:v>89.99672871801823</c:v>
                </c:pt>
                <c:pt idx="7">
                  <c:v>92.45446311349109</c:v>
                </c:pt>
                <c:pt idx="8">
                  <c:v>94.85434547064438</c:v>
                </c:pt>
                <c:pt idx="9">
                  <c:v>97.44395291998468</c:v>
                </c:pt>
                <c:pt idx="10">
                  <c:v>10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4</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30016686750972993</c:v>
                </c:pt>
                <c:pt idx="1">
                  <c:v>0.3112753299302105</c:v>
                </c:pt>
                <c:pt idx="2">
                  <c:v>0.32203665290005096</c:v>
                </c:pt>
                <c:pt idx="3">
                  <c:v>0.3324668582400498</c:v>
                </c:pt>
                <c:pt idx="4">
                  <c:v>0.34258099675156434</c:v>
                </c:pt>
                <c:pt idx="5">
                  <c:v>0.3523932206806455</c:v>
                </c:pt>
                <c:pt idx="6">
                  <c:v>0.361916849788283</c:v>
                </c:pt>
                <c:pt idx="7">
                  <c:v>0.37116443167540936</c:v>
                </c:pt>
                <c:pt idx="8">
                  <c:v>0.3801477969371893</c:v>
                </c:pt>
                <c:pt idx="9">
                  <c:v>0.3888781096563837</c:v>
                </c:pt>
                <c:pt idx="10">
                  <c:v>0.39736591368893426</c:v>
                </c:pt>
                <c:pt idx="11">
                  <c:v>0.4056211751452499</c:v>
                </c:pt>
                <c:pt idx="12">
                  <c:v>0.4136533214270712</c:v>
                </c:pt>
                <c:pt idx="13">
                  <c:v>0.4214712771413765</c:v>
                </c:pt>
                <c:pt idx="14">
                  <c:v>0.42908349717899025</c:v>
                </c:pt>
                <c:pt idx="15">
                  <c:v>0.43649799721562665</c:v>
                </c:pt>
                <c:pt idx="16">
                  <c:v>0.44372238186670854</c:v>
                </c:pt>
                <c:pt idx="17">
                  <c:v>0.4507638707038386</c:v>
                </c:pt>
                <c:pt idx="18">
                  <c:v>0.4576293223200407</c:v>
                </c:pt>
                <c:pt idx="19">
                  <c:v>0.46432525661238594</c:v>
                </c:pt>
                <c:pt idx="20">
                  <c:v>0.4708578754341861</c:v>
                </c:pt>
                <c:pt idx="21">
                  <c:v>0.4772330817542561</c:v>
                </c:pt>
                <c:pt idx="22">
                  <c:v>0.4834564974476578</c:v>
                </c:pt>
                <c:pt idx="23">
                  <c:v>0.4895334798306268</c:v>
                </c:pt>
                <c:pt idx="24">
                  <c:v>0.49546913704189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B$2:$B$12</c:f>
              <c:numCache>
                <c:formatCode>General</c:formatCode>
                <c:ptCount val="11"/>
                <c:pt idx="0">
                  <c:v>126.8078366354453</c:v>
                </c:pt>
                <c:pt idx="1">
                  <c:v>119.53338020799815</c:v>
                </c:pt>
                <c:pt idx="2">
                  <c:v>112.91315207126034</c:v>
                </c:pt>
                <c:pt idx="3">
                  <c:v>106.86872156049212</c:v>
                </c:pt>
                <c:pt idx="4">
                  <c:v>100.0</c:v>
                </c:pt>
                <c:pt idx="5">
                  <c:v>93.71790115785605</c:v>
                </c:pt>
                <c:pt idx="6">
                  <c:v>87.96465924489934</c:v>
                </c:pt>
                <c:pt idx="7">
                  <c:v>82.6882185822589</c:v>
                </c:pt>
                <c:pt idx="8">
                  <c:v>77.84181747506575</c:v>
                </c:pt>
                <c:pt idx="9">
                  <c:v>76.02683686967265</c:v>
                </c:pt>
                <c:pt idx="10">
                  <c:v>74.280170103154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C$2:$C$12</c:f>
              <c:numCache>
                <c:formatCode>General</c:formatCode>
                <c:ptCount val="11"/>
                <c:pt idx="0">
                  <c:v>108.65265831087389</c:v>
                </c:pt>
                <c:pt idx="1">
                  <c:v>106.69231655953988</c:v>
                </c:pt>
                <c:pt idx="2">
                  <c:v>104.82059744139363</c:v>
                </c:pt>
                <c:pt idx="3">
                  <c:v>103.03175915293465</c:v>
                </c:pt>
                <c:pt idx="4">
                  <c:v>100.0</c:v>
                </c:pt>
                <c:pt idx="5">
                  <c:v>97.08496609254547</c:v>
                </c:pt>
                <c:pt idx="6">
                  <c:v>94.287301831285</c:v>
                </c:pt>
                <c:pt idx="7">
                  <c:v>91.60582035977542</c:v>
                </c:pt>
                <c:pt idx="8">
                  <c:v>89.03802404878054</c:v>
                </c:pt>
                <c:pt idx="9">
                  <c:v>89.66426665865423</c:v>
                </c:pt>
                <c:pt idx="10">
                  <c:v>90.244487040226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D$2:$D$12</c:f>
              <c:numCache>
                <c:formatCode>General</c:formatCode>
                <c:ptCount val="11"/>
                <c:pt idx="0">
                  <c:v>87.83152685125003</c:v>
                </c:pt>
                <c:pt idx="1">
                  <c:v>91.9780836654855</c:v>
                </c:pt>
                <c:pt idx="2">
                  <c:v>95.56036808484365</c:v>
                </c:pt>
                <c:pt idx="3">
                  <c:v>98.65679139059775</c:v>
                </c:pt>
                <c:pt idx="4">
                  <c:v>10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E$2:$E$12</c:f>
              <c:numCache>
                <c:formatCode>General</c:formatCode>
                <c:ptCount val="11"/>
                <c:pt idx="0">
                  <c:v>0.37557654610179375</c:v>
                </c:pt>
                <c:pt idx="1">
                  <c:v>0.40055348425772197</c:v>
                </c:pt>
                <c:pt idx="2">
                  <c:v>0.4236091194785789</c:v>
                </c:pt>
                <c:pt idx="3">
                  <c:v>0.4449569298682611</c:v>
                </c:pt>
                <c:pt idx="4">
                  <c:v>0.46477989665868025</c:v>
                </c:pt>
                <c:pt idx="5">
                  <c:v>0.4832357622911398</c:v>
                </c:pt>
                <c:pt idx="6">
                  <c:v>0.500461236881435</c:v>
                </c:pt>
                <c:pt idx="7">
                  <c:v>0.5165753905304209</c:v>
                </c:pt>
                <c:pt idx="8">
                  <c:v>0.5316824095763453</c:v>
                </c:pt>
                <c:pt idx="9">
                  <c:v>0.5458738517103955</c:v>
                </c:pt>
                <c:pt idx="10">
                  <c:v>0.5592305031306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0</c:v>
                </c:pt>
                <c:pt idx="6">
                  <c:v>99.0197399767974</c:v>
                </c:pt>
                <c:pt idx="7">
                  <c:v>98.05453047478143</c:v>
                </c:pt>
                <c:pt idx="8">
                  <c:v>97.1040345923722</c:v>
                </c:pt>
                <c:pt idx="9">
                  <c:v>96.16792479029942</c:v>
                </c:pt>
                <c:pt idx="10">
                  <c:v>92.45151258471026</c:v>
                </c:pt>
                <c:pt idx="11">
                  <c:v>89.25920001316823</c:v>
                </c:pt>
                <c:pt idx="12">
                  <c:v>86.46687858375819</c:v>
                </c:pt>
                <c:pt idx="13">
                  <c:v>85.3149448257273</c:v>
                </c:pt>
                <c:pt idx="14">
                  <c:v>84.19594685718697</c:v>
                </c:pt>
                <c:pt idx="15">
                  <c:v>83.108117722504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c:v>
                </c:pt>
                <c:pt idx="5">
                  <c:v>100.0</c:v>
                </c:pt>
                <c:pt idx="6">
                  <c:v>101.07823658358923</c:v>
                </c:pt>
                <c:pt idx="7">
                  <c:v>102.13129670944205</c:v>
                </c:pt>
                <c:pt idx="8">
                  <c:v>103.15976693240225</c:v>
                </c:pt>
                <c:pt idx="9">
                  <c:v>104.16421564198524</c:v>
                </c:pt>
                <c:pt idx="10">
                  <c:v>102.0617203027116</c:v>
                </c:pt>
                <c:pt idx="11">
                  <c:v>100.39392249894563</c:v>
                </c:pt>
                <c:pt idx="12">
                  <c:v>99.05141655332858</c:v>
                </c:pt>
                <c:pt idx="13">
                  <c:v>99.50534301417044</c:v>
                </c:pt>
                <c:pt idx="14">
                  <c:v>99.95043231298727</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D$2:$D$17</c:f>
              <c:numCache>
                <c:formatCode>General</c:formatCode>
                <c:ptCount val="16"/>
                <c:pt idx="0">
                  <c:v>85.70964723960635</c:v>
                </c:pt>
                <c:pt idx="1">
                  <c:v>88.39750616911823</c:v>
                </c:pt>
                <c:pt idx="2">
                  <c:v>90.94387233406715</c:v>
                </c:pt>
                <c:pt idx="3">
                  <c:v>93.3602470949648</c:v>
                </c:pt>
                <c:pt idx="4">
                  <c:v>95.65627136973293</c:v>
                </c:pt>
                <c:pt idx="5">
                  <c:v>10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E$2:$E$17</c:f>
              <c:numCache>
                <c:formatCode>General</c:formatCode>
                <c:ptCount val="16"/>
                <c:pt idx="0">
                  <c:v>0.32360977340624586</c:v>
                </c:pt>
                <c:pt idx="1">
                  <c:v>0.33898227855610397</c:v>
                </c:pt>
                <c:pt idx="2">
                  <c:v>0.3536715612548573</c:v>
                </c:pt>
                <c:pt idx="3">
                  <c:v>0.3677221794884473</c:v>
                </c:pt>
                <c:pt idx="4">
                  <c:v>0.3811748990737996</c:v>
                </c:pt>
                <c:pt idx="5">
                  <c:v>0.3940670886764287</c:v>
                </c:pt>
                <c:pt idx="6">
                  <c:v>0.40643306645854244</c:v>
                </c:pt>
                <c:pt idx="7">
                  <c:v>0.4183044051293716</c:v>
                </c:pt>
                <c:pt idx="8">
                  <c:v>0.4297102011072269</c:v>
                </c:pt>
                <c:pt idx="9">
                  <c:v>0.4406773126243957</c:v>
                </c:pt>
                <c:pt idx="10">
                  <c:v>0.4512305708767657</c:v>
                </c:pt>
                <c:pt idx="11">
                  <c:v>0.4613929677123811</c:v>
                </c:pt>
                <c:pt idx="12">
                  <c:v>0.47118582284488325</c:v>
                </c:pt>
                <c:pt idx="13">
                  <c:v>0.4806289331512246</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33.87005146127686</c:v>
                </c:pt>
                <c:pt idx="1">
                  <c:v>124.9663075077083</c:v>
                </c:pt>
                <c:pt idx="2">
                  <c:v>117.65531047245987</c:v>
                </c:pt>
                <c:pt idx="3">
                  <c:v>112.4378484701815</c:v>
                </c:pt>
                <c:pt idx="4">
                  <c:v>108.16970960725179</c:v>
                </c:pt>
                <c:pt idx="5">
                  <c:v>104.58852814729465</c:v>
                </c:pt>
                <c:pt idx="6">
                  <c:v>102.93500243505038</c:v>
                </c:pt>
                <c:pt idx="7">
                  <c:v>101.41189939402366</c:v>
                </c:pt>
                <c:pt idx="8">
                  <c:v>100.0</c:v>
                </c:pt>
                <c:pt idx="9">
                  <c:v>98.68378295442119</c:v>
                </c:pt>
                <c:pt idx="10">
                  <c:v>97.13060772593366</c:v>
                </c:pt>
                <c:pt idx="11">
                  <c:v>95.64945258629977</c:v>
                </c:pt>
                <c:pt idx="12">
                  <c:v>94.2335798371312</c:v>
                </c:pt>
                <c:pt idx="13">
                  <c:v>93.78828090119646</c:v>
                </c:pt>
                <c:pt idx="14">
                  <c:v>93.35516891442572</c:v>
                </c:pt>
                <c:pt idx="15">
                  <c:v>92.93346856711898</c:v>
                </c:pt>
                <c:pt idx="16">
                  <c:v>92.52248278094774</c:v>
                </c:pt>
                <c:pt idx="17">
                  <c:v>92.12158224460094</c:v>
                </c:pt>
                <c:pt idx="18">
                  <c:v>91.73019662078534</c:v>
                </c:pt>
                <c:pt idx="19">
                  <c:v>91.34780712501227</c:v>
                </c:pt>
                <c:pt idx="20">
                  <c:v>89.16097765941608</c:v>
                </c:pt>
                <c:pt idx="21">
                  <c:v>87.08151863196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c:v>
                </c:pt>
                <c:pt idx="6">
                  <c:v>99.82065546381378</c:v>
                </c:pt>
                <c:pt idx="7">
                  <c:v>99.87785975873365</c:v>
                </c:pt>
                <c:pt idx="8">
                  <c:v>100.0</c:v>
                </c:pt>
                <c:pt idx="9">
                  <c:v>100.17639281852526</c:v>
                </c:pt>
                <c:pt idx="10">
                  <c:v>100.06881159411209</c:v>
                </c:pt>
                <c:pt idx="11">
                  <c:v>99.98947476827036</c:v>
                </c:pt>
                <c:pt idx="12">
                  <c:v>99.93451255628119</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08.81842569032708</c:v>
                </c:pt>
                <c:pt idx="1">
                  <c:v>104.50405330258963</c:v>
                </c:pt>
                <c:pt idx="2">
                  <c:v>101.14233701939328</c:v>
                </c:pt>
                <c:pt idx="3">
                  <c:v>99.28726479024755</c:v>
                </c:pt>
                <c:pt idx="4">
                  <c:v>98.04859941399458</c:v>
                </c:pt>
                <c:pt idx="5">
                  <c:v>97.24900568181334</c:v>
                </c:pt>
                <c:pt idx="6">
                  <c:v>98.1193451398103</c:v>
                </c:pt>
                <c:pt idx="7">
                  <c:v>99.03969877427264</c:v>
                </c:pt>
                <c:pt idx="8">
                  <c:v>10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5991402778999341</c:v>
                </c:pt>
                <c:pt idx="1">
                  <c:v>0.6059345104779014</c:v>
                </c:pt>
                <c:pt idx="2">
                  <c:v>0.6125022686366028</c:v>
                </c:pt>
                <c:pt idx="3">
                  <c:v>0.6188546904622324</c:v>
                </c:pt>
                <c:pt idx="4">
                  <c:v>0.6250021954547771</c:v>
                </c:pt>
                <c:pt idx="5">
                  <c:v>0.6309545415586695</c:v>
                </c:pt>
                <c:pt idx="6">
                  <c:v>0.6367208768468153</c:v>
                </c:pt>
                <c:pt idx="7">
                  <c:v>0.6423097864337873</c:v>
                </c:pt>
                <c:pt idx="8">
                  <c:v>0.6477293351241844</c:v>
                </c:pt>
                <c:pt idx="9">
                  <c:v>0.652987106241734</c:v>
                </c:pt>
                <c:pt idx="10">
                  <c:v>0.6580902370322967</c:v>
                </c:pt>
                <c:pt idx="11">
                  <c:v>0.6630454509883503</c:v>
                </c:pt>
                <c:pt idx="12">
                  <c:v>0.6678590874028025</c:v>
                </c:pt>
                <c:pt idx="13">
                  <c:v>0.6725371284252982</c:v>
                </c:pt>
                <c:pt idx="14">
                  <c:v>0.6770852238638356</c:v>
                </c:pt>
                <c:pt idx="15">
                  <c:v>0.6815087139478929</c:v>
                </c:pt>
                <c:pt idx="16">
                  <c:v>0.6858126502458942</c:v>
                </c:pt>
                <c:pt idx="17">
                  <c:v>0.6900018149092824</c:v>
                </c:pt>
                <c:pt idx="18">
                  <c:v>0.694080738397318</c:v>
                </c:pt>
                <c:pt idx="19">
                  <c:v>0.6980537158207296</c:v>
                </c:pt>
                <c:pt idx="20">
                  <c:v>0.7019248220281561</c:v>
                </c:pt>
                <c:pt idx="21">
                  <c:v>0.7056979255467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0</c:v>
                </c:pt>
                <c:pt idx="9">
                  <c:v>98.39812321609234</c:v>
                </c:pt>
                <c:pt idx="10">
                  <c:v>96.82029501884412</c:v>
                </c:pt>
                <c:pt idx="11">
                  <c:v>95.30701434442697</c:v>
                </c:pt>
                <c:pt idx="12">
                  <c:v>93.85301996852976</c:v>
                </c:pt>
                <c:pt idx="13">
                  <c:v>93.09279819654157</c:v>
                </c:pt>
                <c:pt idx="14">
                  <c:v>92.3613943310213</c:v>
                </c:pt>
                <c:pt idx="15">
                  <c:v>91.656409964388</c:v>
                </c:pt>
                <c:pt idx="16">
                  <c:v>90.97574546923545</c:v>
                </c:pt>
                <c:pt idx="17">
                  <c:v>90.31755350617982</c:v>
                </c:pt>
                <c:pt idx="18">
                  <c:v>89.68020078928537</c:v>
                </c:pt>
                <c:pt idx="19">
                  <c:v>89.06223651109619</c:v>
                </c:pt>
                <c:pt idx="20">
                  <c:v>86.71518045566827</c:v>
                </c:pt>
                <c:pt idx="21">
                  <c:v>84.495296471231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0</c:v>
                </c:pt>
                <c:pt idx="9">
                  <c:v>99.88805634249172</c:v>
                </c:pt>
                <c:pt idx="10">
                  <c:v>99.75209890656122</c:v>
                </c:pt>
                <c:pt idx="11">
                  <c:v>99.63582916774467</c:v>
                </c:pt>
                <c:pt idx="12">
                  <c:v>99.53660127295738</c:v>
                </c:pt>
                <c:pt idx="13">
                  <c:v>100.13919029293787</c:v>
                </c:pt>
                <c:pt idx="14">
                  <c:v>100.75016189349795</c:v>
                </c:pt>
                <c:pt idx="15">
                  <c:v>101.3681741055213</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08.51396279923395</c:v>
                </c:pt>
                <c:pt idx="1">
                  <c:v>102.56178347124573</c:v>
                </c:pt>
                <c:pt idx="2">
                  <c:v>98.04710487685225</c:v>
                </c:pt>
                <c:pt idx="3">
                  <c:v>97.77907248913321</c:v>
                </c:pt>
                <c:pt idx="4">
                  <c:v>97.81130993973075</c:v>
                </c:pt>
                <c:pt idx="5">
                  <c:v>98.05365859835942</c:v>
                </c:pt>
                <c:pt idx="6">
                  <c:v>98.63368678728855</c:v>
                </c:pt>
                <c:pt idx="7">
                  <c:v>99.28761274636933</c:v>
                </c:pt>
                <c:pt idx="8">
                  <c:v>10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5807533529429826</c:v>
                </c:pt>
                <c:pt idx="1">
                  <c:v>0.5878592283168304</c:v>
                </c:pt>
                <c:pt idx="2">
                  <c:v>0.5947282411782164</c:v>
                </c:pt>
                <c:pt idx="3">
                  <c:v>0.6013720405031638</c:v>
                </c:pt>
                <c:pt idx="4">
                  <c:v>0.6078015237208546</c:v>
                </c:pt>
                <c:pt idx="5">
                  <c:v>0.6140268963602062</c:v>
                </c:pt>
                <c:pt idx="6">
                  <c:v>0.620057726104578</c:v>
                </c:pt>
                <c:pt idx="7">
                  <c:v>0.6259029918568152</c:v>
                </c:pt>
                <c:pt idx="8">
                  <c:v>0.631571128343833</c:v>
                </c:pt>
                <c:pt idx="9">
                  <c:v>0.637070066726761</c:v>
                </c:pt>
                <c:pt idx="10">
                  <c:v>0.6424072716278381</c:v>
                </c:pt>
                <c:pt idx="11">
                  <c:v>0.6475897749375795</c:v>
                </c:pt>
                <c:pt idx="12">
                  <c:v>0.6526242067241856</c:v>
                </c:pt>
                <c:pt idx="13">
                  <c:v>0.6575168235308871</c:v>
                </c:pt>
                <c:pt idx="14">
                  <c:v>0.6622735343151805</c:v>
                </c:pt>
                <c:pt idx="15">
                  <c:v>0.6668999242560684</c:v>
                </c:pt>
                <c:pt idx="16">
                  <c:v>0.6714012766309864</c:v>
                </c:pt>
                <c:pt idx="17">
                  <c:v>0.6757825929425733</c:v>
                </c:pt>
                <c:pt idx="18">
                  <c:v>0.6800486114564867</c:v>
                </c:pt>
                <c:pt idx="19">
                  <c:v>0.684203824294714</c:v>
                </c:pt>
                <c:pt idx="20">
                  <c:v>0.6882524932140127</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30.3985512830538</c:v>
                </c:pt>
                <c:pt idx="1">
                  <c:v>122.57934229798929</c:v>
                </c:pt>
                <c:pt idx="2">
                  <c:v>116.09669971297463</c:v>
                </c:pt>
                <c:pt idx="3">
                  <c:v>111.56201398580276</c:v>
                </c:pt>
                <c:pt idx="4">
                  <c:v>107.82541459667794</c:v>
                </c:pt>
                <c:pt idx="5">
                  <c:v>104.66766414736523</c:v>
                </c:pt>
                <c:pt idx="6">
                  <c:v>102.98576061654525</c:v>
                </c:pt>
                <c:pt idx="7">
                  <c:v>101.43655606348815</c:v>
                </c:pt>
                <c:pt idx="8">
                  <c:v>100.0</c:v>
                </c:pt>
                <c:pt idx="9">
                  <c:v>98.66003641542798</c:v>
                </c:pt>
                <c:pt idx="10">
                  <c:v>97.22057287789688</c:v>
                </c:pt>
                <c:pt idx="11">
                  <c:v>95.8440221944618</c:v>
                </c:pt>
                <c:pt idx="12">
                  <c:v>94.5247179534198</c:v>
                </c:pt>
                <c:pt idx="13">
                  <c:v>93.969152970978</c:v>
                </c:pt>
                <c:pt idx="14">
                  <c:v>93.43034540057462</c:v>
                </c:pt>
                <c:pt idx="15">
                  <c:v>92.90710675271649</c:v>
                </c:pt>
                <c:pt idx="16">
                  <c:v>92.39838254487144</c:v>
                </c:pt>
                <c:pt idx="17">
                  <c:v>91.90323271922858</c:v>
                </c:pt>
                <c:pt idx="18">
                  <c:v>91.4208153904787</c:v>
                </c:pt>
                <c:pt idx="19">
                  <c:v>90.95037330012028</c:v>
                </c:pt>
                <c:pt idx="20">
                  <c:v>89.14774044941392</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14.58707829826949</c:v>
                </c:pt>
                <c:pt idx="1">
                  <c:v>109.58036215435392</c:v>
                </c:pt>
                <c:pt idx="2">
                  <c:v>105.5490950626074</c:v>
                </c:pt>
                <c:pt idx="3">
                  <c:v>103.11899534913496</c:v>
                </c:pt>
                <c:pt idx="4">
                  <c:v>101.2996954744893</c:v>
                </c:pt>
                <c:pt idx="5">
                  <c:v>99.9187132587854</c:v>
                </c:pt>
                <c:pt idx="6">
                  <c:v>99.87092657953542</c:v>
                </c:pt>
                <c:pt idx="7">
                  <c:v>99.9026841598748</c:v>
                </c:pt>
                <c:pt idx="8">
                  <c:v>100.0</c:v>
                </c:pt>
                <c:pt idx="9">
                  <c:v>100.1517205169201</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06.75784914365974</c:v>
                </c:pt>
                <c:pt idx="1">
                  <c:v>103.1341185604813</c:v>
                </c:pt>
                <c:pt idx="2">
                  <c:v>100.31082170507717</c:v>
                </c:pt>
                <c:pt idx="3">
                  <c:v>98.92094015504217</c:v>
                </c:pt>
                <c:pt idx="4">
                  <c:v>98.05127031188634</c:v>
                </c:pt>
                <c:pt idx="5">
                  <c:v>97.55173845056775</c:v>
                </c:pt>
                <c:pt idx="6">
                  <c:v>98.31804063925458</c:v>
                </c:pt>
                <c:pt idx="7">
                  <c:v>99.13780409850514</c:v>
                </c:pt>
                <c:pt idx="8">
                  <c:v>10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6228757709781244</c:v>
                </c:pt>
                <c:pt idx="1">
                  <c:v>0.6292677070632411</c:v>
                </c:pt>
                <c:pt idx="2">
                  <c:v>0.6354465786121869</c:v>
                </c:pt>
                <c:pt idx="3">
                  <c:v>0.6414228642087084</c:v>
                </c:pt>
                <c:pt idx="4">
                  <c:v>0.6472063663988906</c:v>
                </c:pt>
                <c:pt idx="5">
                  <c:v>0.6528062653449399</c:v>
                </c:pt>
                <c:pt idx="6">
                  <c:v>0.6582311674489253</c:v>
                </c:pt>
                <c:pt idx="7">
                  <c:v>0.6634891494881725</c:v>
                </c:pt>
                <c:pt idx="8">
                  <c:v>0.6685877987383517</c:v>
                </c:pt>
                <c:pt idx="9">
                  <c:v>0.673534249503451</c:v>
                </c:pt>
                <c:pt idx="10">
                  <c:v>0.6783352164225179</c:v>
                </c:pt>
                <c:pt idx="11">
                  <c:v>0.6829970248801626</c:v>
                </c:pt>
                <c:pt idx="12">
                  <c:v>0.6875256388104459</c:v>
                </c:pt>
                <c:pt idx="13">
                  <c:v>0.6919266861511439</c:v>
                </c:pt>
                <c:pt idx="14">
                  <c:v>0.6962054821768224</c:v>
                </c:pt>
                <c:pt idx="15">
                  <c:v>0.7003670509141263</c:v>
                </c:pt>
                <c:pt idx="16">
                  <c:v>0.704416144820692</c:v>
                </c:pt>
                <c:pt idx="17">
                  <c:v>0.7083572628897497</c:v>
                </c:pt>
                <c:pt idx="18">
                  <c:v>0.7121946673254108</c:v>
                </c:pt>
                <c:pt idx="19">
                  <c:v>0.7159323989185872</c:v>
                </c:pt>
                <c:pt idx="20">
                  <c:v>0.7195742912401439</c:v>
                </c:pt>
                <c:pt idx="21">
                  <c:v>0.72312398375609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0</c:v>
                </c:pt>
                <c:pt idx="12">
                  <c:v>98.79994684387096</c:v>
                </c:pt>
                <c:pt idx="13">
                  <c:v>98.35825217084088</c:v>
                </c:pt>
                <c:pt idx="14">
                  <c:v>97.92744910806898</c:v>
                </c:pt>
                <c:pt idx="15">
                  <c:v>97.5068650943209</c:v>
                </c:pt>
                <c:pt idx="16">
                  <c:v>97.09589557113304</c:v>
                </c:pt>
                <c:pt idx="17">
                  <c:v>96.69399485008337</c:v>
                </c:pt>
                <c:pt idx="18">
                  <c:v>96.30066843702788</c:v>
                </c:pt>
                <c:pt idx="19">
                  <c:v>95.9154665535359</c:v>
                </c:pt>
                <c:pt idx="20">
                  <c:v>94.18087894808932</c:v>
                </c:pt>
                <c:pt idx="21">
                  <c:v>92.52187827742235</c:v>
                </c:pt>
                <c:pt idx="22">
                  <c:v>90.93316982267542</c:v>
                </c:pt>
                <c:pt idx="23">
                  <c:v>89.40994876294019</c:v>
                </c:pt>
                <c:pt idx="24">
                  <c:v>87.94784499738054</c:v>
                </c:pt>
                <c:pt idx="25">
                  <c:v>86.542875238212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C$2:$C$27</c:f>
              <c:numCache>
                <c:formatCode>General</c:formatCode>
                <c:ptCount val="26"/>
                <c:pt idx="0">
                  <c:v>107.389160062094</c:v>
                </c:pt>
                <c:pt idx="1">
                  <c:v>104.3851844536133</c:v>
                </c:pt>
                <c:pt idx="2">
                  <c:v>101.92132429054601</c:v>
                </c:pt>
                <c:pt idx="3">
                  <c:v>100.22782697115072</c:v>
                </c:pt>
                <c:pt idx="4">
                  <c:v>98.95362146395253</c:v>
                </c:pt>
                <c:pt idx="5">
                  <c:v>97.98520655960743</c:v>
                </c:pt>
                <c:pt idx="6">
                  <c:v>98.32597150673556</c:v>
                </c:pt>
                <c:pt idx="7">
                  <c:v>98.70862816197189</c:v>
                </c:pt>
                <c:pt idx="8">
                  <c:v>99.1257583025138</c:v>
                </c:pt>
                <c:pt idx="9">
                  <c:v>99.57138352897513</c:v>
                </c:pt>
                <c:pt idx="10">
                  <c:v>99.78108383385928</c:v>
                </c:pt>
                <c:pt idx="11">
                  <c:v>10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D$2:$D$27</c:f>
              <c:numCache>
                <c:formatCode>General</c:formatCode>
                <c:ptCount val="26"/>
                <c:pt idx="0">
                  <c:v>96.0486760008951</c:v>
                </c:pt>
                <c:pt idx="1">
                  <c:v>94.51594403121366</c:v>
                </c:pt>
                <c:pt idx="2">
                  <c:v>93.37741319820559</c:v>
                </c:pt>
                <c:pt idx="3">
                  <c:v>92.86958546434684</c:v>
                </c:pt>
                <c:pt idx="4">
                  <c:v>92.68904372211134</c:v>
                </c:pt>
                <c:pt idx="5">
                  <c:v>92.74297761983526</c:v>
                </c:pt>
                <c:pt idx="6">
                  <c:v>94.00997157358213</c:v>
                </c:pt>
                <c:pt idx="7">
                  <c:v>95.29542945020894</c:v>
                </c:pt>
                <c:pt idx="8">
                  <c:v>96.59422142461219</c:v>
                </c:pt>
                <c:pt idx="9">
                  <c:v>97.90225559076616</c:v>
                </c:pt>
                <c:pt idx="10">
                  <c:v>98.9569319131492</c:v>
                </c:pt>
                <c:pt idx="11">
                  <c:v>10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4</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E$2:$E$27</c:f>
              <c:numCache>
                <c:formatCode>General</c:formatCode>
                <c:ptCount val="26"/>
                <c:pt idx="0">
                  <c:v>0.5738862043099926</c:v>
                </c:pt>
                <c:pt idx="1">
                  <c:v>0.581108472033552</c:v>
                </c:pt>
                <c:pt idx="2">
                  <c:v>0.5880899974996595</c:v>
                </c:pt>
                <c:pt idx="3">
                  <c:v>0.5948426204914683</c:v>
                </c:pt>
                <c:pt idx="4">
                  <c:v>0.6013774169351543</c:v>
                </c:pt>
                <c:pt idx="5">
                  <c:v>0.6077047595234852</c:v>
                </c:pt>
                <c:pt idx="6">
                  <c:v>0.6138343726559309</c:v>
                </c:pt>
                <c:pt idx="7">
                  <c:v>0.6197753823073779</c:v>
                </c:pt>
                <c:pt idx="8">
                  <c:v>0.6255363613633268</c:v>
                </c:pt>
                <c:pt idx="9">
                  <c:v>0.6311253708952175</c:v>
                </c:pt>
                <c:pt idx="10">
                  <c:v>0.636549997793817</c:v>
                </c:pt>
                <c:pt idx="11">
                  <c:v>0.6418173891301387</c:v>
                </c:pt>
                <c:pt idx="12">
                  <c:v>0.6469342835711367</c:v>
                </c:pt>
                <c:pt idx="13">
                  <c:v>0.6519070401405573</c:v>
                </c:pt>
                <c:pt idx="14">
                  <c:v>0.6567416645830496</c:v>
                </c:pt>
                <c:pt idx="15">
                  <c:v>0.6614438335613638</c:v>
                </c:pt>
                <c:pt idx="16">
                  <c:v>0.6660189168916157</c:v>
                </c:pt>
                <c:pt idx="17">
                  <c:v>0.6704719979997276</c:v>
                </c:pt>
                <c:pt idx="18">
                  <c:v>0.6748078927628891</c:v>
                </c:pt>
                <c:pt idx="19">
                  <c:v>0.6790311668828515</c:v>
                </c:pt>
                <c:pt idx="20">
                  <c:v>0.683146151922815</c:v>
                </c:pt>
                <c:pt idx="21">
                  <c:v>0.6871569601263237</c:v>
                </c:pt>
                <c:pt idx="22">
                  <c:v>0.6910674981247447</c:v>
                </c:pt>
                <c:pt idx="23">
                  <c:v>0.6948814796293774</c:v>
                </c:pt>
                <c:pt idx="24">
                  <c:v>0.6986024371948728</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0</c:v>
                </c:pt>
                <c:pt idx="11">
                  <c:v>99.41323143497954</c:v>
                </c:pt>
                <c:pt idx="12">
                  <c:v>98.84415046878573</c:v>
                </c:pt>
                <c:pt idx="13">
                  <c:v>98.29151309903612</c:v>
                </c:pt>
                <c:pt idx="14">
                  <c:v>97.7542147593346</c:v>
                </c:pt>
                <c:pt idx="15">
                  <c:v>97.23126993577851</c:v>
                </c:pt>
                <c:pt idx="16">
                  <c:v>96.72179527615597</c:v>
                </c:pt>
                <c:pt idx="17">
                  <c:v>96.22499552837897</c:v>
                </c:pt>
                <c:pt idx="18">
                  <c:v>94.10594444600304</c:v>
                </c:pt>
                <c:pt idx="19">
                  <c:v>92.09505926713985</c:v>
                </c:pt>
                <c:pt idx="20">
                  <c:v>90.1836482863743</c:v>
                </c:pt>
                <c:pt idx="21">
                  <c:v>88.36393109535689</c:v>
                </c:pt>
                <c:pt idx="22">
                  <c:v>86.628925194242</c:v>
                </c:pt>
                <c:pt idx="23">
                  <c:v>84.97234842806598</c:v>
                </c:pt>
                <c:pt idx="24">
                  <c:v>83.3885348612499</c:v>
                </c:pt>
                <c:pt idx="25">
                  <c:v>81.87236208201796</c:v>
                </c:pt>
                <c:pt idx="26">
                  <c:v>80.419188245487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06.39341093201975</c:v>
                </c:pt>
                <c:pt idx="1">
                  <c:v>103.55957220210203</c:v>
                </c:pt>
                <c:pt idx="2">
                  <c:v>101.40618582427814</c:v>
                </c:pt>
                <c:pt idx="3">
                  <c:v>99.7335925445403</c:v>
                </c:pt>
                <c:pt idx="4">
                  <c:v>99.75083270063548</c:v>
                </c:pt>
                <c:pt idx="5">
                  <c:v>99.83939408941491</c:v>
                </c:pt>
                <c:pt idx="6">
                  <c:v>99.98725564877752</c:v>
                </c:pt>
                <c:pt idx="7">
                  <c:v>100.18468479108473</c:v>
                </c:pt>
                <c:pt idx="8">
                  <c:v>100.09624195580189</c:v>
                </c:pt>
                <c:pt idx="9">
                  <c:v>100.03597997857321</c:v>
                </c:pt>
                <c:pt idx="10">
                  <c:v>10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4</c:v>
                </c:pt>
                <c:pt idx="19">
                  <c:v>103.90811186255782</c:v>
                </c:pt>
                <c:pt idx="20">
                  <c:v>103.04055124588135</c:v>
                </c:pt>
                <c:pt idx="21">
                  <c:v>102.22435288177081</c:v>
                </c:pt>
                <c:pt idx="22">
                  <c:v>101.45528112521866</c:v>
                </c:pt>
                <c:pt idx="23">
                  <c:v>100.7295299644928</c:v>
                </c:pt>
                <c:pt idx="24">
                  <c:v>100.04367234878282</c:v>
                </c:pt>
                <c:pt idx="25">
                  <c:v>99.39461614419554</c:v>
                </c:pt>
                <c:pt idx="26">
                  <c:v>98.779565790148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98.8413988712271</c:v>
                </c:pt>
                <c:pt idx="1">
                  <c:v>97.0463440042759</c:v>
                </c:pt>
                <c:pt idx="2">
                  <c:v>95.82375165106319</c:v>
                </c:pt>
                <c:pt idx="3">
                  <c:v>95.00176163763614</c:v>
                </c:pt>
                <c:pt idx="4">
                  <c:v>95.75724564243635</c:v>
                </c:pt>
                <c:pt idx="5">
                  <c:v>96.55949526938404</c:v>
                </c:pt>
                <c:pt idx="6">
                  <c:v>97.39927710620508</c:v>
                </c:pt>
                <c:pt idx="7">
                  <c:v>98.26913448461524</c:v>
                </c:pt>
                <c:pt idx="8">
                  <c:v>98.83899385342409</c:v>
                </c:pt>
                <c:pt idx="9">
                  <c:v>99.41678998039023</c:v>
                </c:pt>
                <c:pt idx="10">
                  <c:v>10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5</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515690237346349</c:v>
                </c:pt>
                <c:pt idx="1">
                  <c:v>0.6572810069521</c:v>
                </c:pt>
                <c:pt idx="2">
                  <c:v>0.6628087326464209</c:v>
                </c:pt>
                <c:pt idx="3">
                  <c:v>0.6681609749853665</c:v>
                </c:pt>
                <c:pt idx="4">
                  <c:v>0.6733459597512202</c:v>
                </c:pt>
                <c:pt idx="5">
                  <c:v>0.6783714065242784</c:v>
                </c:pt>
                <c:pt idx="6">
                  <c:v>0.6832445670314864</c:v>
                </c:pt>
                <c:pt idx="7">
                  <c:v>0.6879722600608672</c:v>
                </c:pt>
                <c:pt idx="8">
                  <c:v>0.6925609032952661</c:v>
                </c:pt>
                <c:pt idx="9">
                  <c:v>0.6970165423779435</c:v>
                </c:pt>
                <c:pt idx="10">
                  <c:v>0.70134487748683</c:v>
                </c:pt>
                <c:pt idx="11">
                  <c:v>0.7055512876630718</c:v>
                </c:pt>
                <c:pt idx="12">
                  <c:v>0.7096408531121958</c:v>
                </c:pt>
                <c:pt idx="13">
                  <c:v>0.7136183756723027</c:v>
                </c:pt>
                <c:pt idx="14">
                  <c:v>0.717488397622677</c:v>
                </c:pt>
                <c:pt idx="15">
                  <c:v>0.7212552189877081</c:v>
                </c:pt>
                <c:pt idx="16">
                  <c:v>0.7249229134747117</c:v>
                </c:pt>
                <c:pt idx="17">
                  <c:v>0.7284953431698455</c:v>
                </c:pt>
                <c:pt idx="18">
                  <c:v>0.7319761721035652</c:v>
                </c:pt>
                <c:pt idx="19">
                  <c:v>0.7353688787857987</c:v>
                </c:pt>
                <c:pt idx="20">
                  <c:v>0.7386767678009764</c:v>
                </c:pt>
                <c:pt idx="21">
                  <c:v>0.7419029805441739</c:v>
                </c:pt>
                <c:pt idx="22">
                  <c:v>0.745050505171684</c:v>
                </c:pt>
                <c:pt idx="23">
                  <c:v>0.7481221858322662</c:v>
                </c:pt>
                <c:pt idx="24">
                  <c:v>0.7511207312390249</c:v>
                </c:pt>
                <c:pt idx="25">
                  <c:v>0.7540487226362129</c:v>
                </c:pt>
                <c:pt idx="26">
                  <c:v>0.7569086212102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c:v>
                </c:pt>
                <c:pt idx="1">
                  <c:v>0.19745333493151732</c:v>
                </c:pt>
                <c:pt idx="2">
                  <c:v>0.18301170484228155</c:v>
                </c:pt>
                <c:pt idx="3">
                  <c:v>0.13353133022305325</c:v>
                </c:pt>
                <c:pt idx="4">
                  <c:v>0.056215762890484806</c:v>
                </c:pt>
                <c:pt idx="5">
                  <c:v>0.0245612529037569</c:v>
                </c:pt>
                <c:pt idx="6">
                  <c:v>0.02132503314832353</c:v>
                </c:pt>
                <c:pt idx="7">
                  <c:v>0.010492305102875748</c:v>
                </c:pt>
                <c:pt idx="8">
                  <c:v>0.00699926502086096</c:v>
                </c:pt>
                <c:pt idx="9">
                  <c:v>0.00669211319395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0</c:v>
                </c:pt>
                <c:pt idx="10">
                  <c:v>96.95834471953695</c:v>
                </c:pt>
                <c:pt idx="11">
                  <c:v>94.27316766797122</c:v>
                </c:pt>
                <c:pt idx="12">
                  <c:v>93.19993044714943</c:v>
                </c:pt>
                <c:pt idx="13">
                  <c:v>92.18407820430753</c:v>
                </c:pt>
                <c:pt idx="14">
                  <c:v>91.21892459997657</c:v>
                </c:pt>
                <c:pt idx="15">
                  <c:v>90.29888655552011</c:v>
                </c:pt>
                <c:pt idx="16">
                  <c:v>88.99782351547833</c:v>
                </c:pt>
                <c:pt idx="17">
                  <c:v>87.74495587470076</c:v>
                </c:pt>
                <c:pt idx="18">
                  <c:v>86.53653272268542</c:v>
                </c:pt>
                <c:pt idx="19">
                  <c:v>86.19482575366753</c:v>
                </c:pt>
                <c:pt idx="20">
                  <c:v>85.860346712304</c:v>
                </c:pt>
                <c:pt idx="21">
                  <c:v>85.53270844323781</c:v>
                </c:pt>
                <c:pt idx="22">
                  <c:v>85.211559331097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9</c:v>
                </c:pt>
                <c:pt idx="7">
                  <c:v>104.74110078551261</c:v>
                </c:pt>
                <c:pt idx="8">
                  <c:v>101.81612188900147</c:v>
                </c:pt>
                <c:pt idx="9">
                  <c:v>100.0</c:v>
                </c:pt>
                <c:pt idx="10">
                  <c:v>98.5467087528243</c:v>
                </c:pt>
                <c:pt idx="11">
                  <c:v>97.361501519792</c:v>
                </c:pt>
                <c:pt idx="12">
                  <c:v>97.77725481996893</c:v>
                </c:pt>
                <c:pt idx="13">
                  <c:v>98.21891355975006</c:v>
                </c:pt>
                <c:pt idx="14">
                  <c:v>98.68207225648236</c:v>
                </c:pt>
                <c:pt idx="15">
                  <c:v>99.16309760215354</c:v>
                </c:pt>
                <c:pt idx="16">
                  <c:v>99.1896866232547</c:v>
                </c:pt>
                <c:pt idx="17">
                  <c:v>99.22818754376966</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79.14441073298053</c:v>
                </c:pt>
                <c:pt idx="1">
                  <c:v>81.10011005393444</c:v>
                </c:pt>
                <c:pt idx="2">
                  <c:v>83.24260696672191</c:v>
                </c:pt>
                <c:pt idx="3">
                  <c:v>85.50359909484496</c:v>
                </c:pt>
                <c:pt idx="4">
                  <c:v>89.80669941501989</c:v>
                </c:pt>
                <c:pt idx="5">
                  <c:v>94.00887078207379</c:v>
                </c:pt>
                <c:pt idx="6">
                  <c:v>98.11394719608477</c:v>
                </c:pt>
                <c:pt idx="7">
                  <c:v>98.32692241014419</c:v>
                </c:pt>
                <c:pt idx="8">
                  <c:v>98.74992559106914</c:v>
                </c:pt>
                <c:pt idx="9">
                  <c:v>10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2448978371871528</c:v>
                </c:pt>
                <c:pt idx="1">
                  <c:v>0.2591450478062628</c:v>
                </c:pt>
                <c:pt idx="2">
                  <c:v>0.2728645839579988</c:v>
                </c:pt>
                <c:pt idx="3">
                  <c:v>0.2860852278860352</c:v>
                </c:pt>
                <c:pt idx="4">
                  <c:v>0.29883370595949893</c:v>
                </c:pt>
                <c:pt idx="5">
                  <c:v>0.3111348690128408</c:v>
                </c:pt>
                <c:pt idx="6">
                  <c:v>0.32301185402986093</c:v>
                </c:pt>
                <c:pt idx="7">
                  <c:v>0.3344862293852871</c:v>
                </c:pt>
                <c:pt idx="8">
                  <c:v>0.345578125562199</c:v>
                </c:pt>
                <c:pt idx="9">
                  <c:v>0.3563063530119989</c:v>
                </c:pt>
                <c:pt idx="10">
                  <c:v>0.3666885086085796</c:v>
                </c:pt>
                <c:pt idx="11">
                  <c:v>0.376741071963999</c:v>
                </c:pt>
                <c:pt idx="12">
                  <c:v>0.38647949271456156</c:v>
                </c:pt>
                <c:pt idx="13">
                  <c:v>0.395918269749722</c:v>
                </c:pt>
                <c:pt idx="14">
                  <c:v>0.40507102323836264</c:v>
                </c:pt>
                <c:pt idx="15">
                  <c:v>0.4139505602049542</c:v>
                </c:pt>
                <c:pt idx="16">
                  <c:v>0.4225689343195871</c:v>
                </c:pt>
                <c:pt idx="17">
                  <c:v>0.4309375004888687</c:v>
                </c:pt>
                <c:pt idx="18">
                  <c:v>0.439066964767599</c:v>
                </c:pt>
                <c:pt idx="19">
                  <c:v>0.4469674300525624</c:v>
                </c:pt>
                <c:pt idx="20">
                  <c:v>0.4546484379684991</c:v>
                </c:pt>
                <c:pt idx="21">
                  <c:v>0.4621190073113964</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0</c:v>
                </c:pt>
                <c:pt idx="8">
                  <c:v>97.06836302738695</c:v>
                </c:pt>
                <c:pt idx="9">
                  <c:v>94.4101539559604</c:v>
                </c:pt>
                <c:pt idx="10">
                  <c:v>90.54324304773925</c:v>
                </c:pt>
                <c:pt idx="11">
                  <c:v>87.0241545590827</c:v>
                </c:pt>
                <c:pt idx="12">
                  <c:v>83.80055052771024</c:v>
                </c:pt>
                <c:pt idx="13">
                  <c:v>80.83056375114839</c:v>
                </c:pt>
                <c:pt idx="14">
                  <c:v>80.057427705695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C$2:$C$16</c:f>
              <c:numCache>
                <c:formatCode>General</c:formatCode>
                <c:ptCount val="15"/>
                <c:pt idx="0">
                  <c:v>98.77461265547203</c:v>
                </c:pt>
                <c:pt idx="1">
                  <c:v>99.46701703420628</c:v>
                </c:pt>
                <c:pt idx="2">
                  <c:v>100.66205622290842</c:v>
                </c:pt>
                <c:pt idx="3">
                  <c:v>101.81455454509738</c:v>
                </c:pt>
                <c:pt idx="4">
                  <c:v>102.92624284103395</c:v>
                </c:pt>
                <c:pt idx="5">
                  <c:v>101.69260342229623</c:v>
                </c:pt>
                <c:pt idx="6">
                  <c:v>100.73615122707476</c:v>
                </c:pt>
                <c:pt idx="7">
                  <c:v>100.0</c:v>
                </c:pt>
                <c:pt idx="8">
                  <c:v>99.43976361935513</c:v>
                </c:pt>
                <c:pt idx="9">
                  <c:v>99.02068466447864</c:v>
                </c:pt>
                <c:pt idx="10">
                  <c:v>97.19974740381485</c:v>
                </c:pt>
                <c:pt idx="11">
                  <c:v>95.5680213478817</c:v>
                </c:pt>
                <c:pt idx="12">
                  <c:v>94.09305993004632</c:v>
                </c:pt>
                <c:pt idx="13">
                  <c:v>92.7491119783356</c:v>
                </c:pt>
                <c:pt idx="14">
                  <c:v>93.7909089067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D$2:$D$16</c:f>
              <c:numCache>
                <c:formatCode>General</c:formatCode>
                <c:ptCount val="15"/>
                <c:pt idx="0">
                  <c:v>86.5293988779218</c:v>
                </c:pt>
                <c:pt idx="1">
                  <c:v>89.20718471784294</c:v>
                </c:pt>
                <c:pt idx="2">
                  <c:v>92.26968821634685</c:v>
                </c:pt>
                <c:pt idx="3">
                  <c:v>95.23276520944252</c:v>
                </c:pt>
                <c:pt idx="4">
                  <c:v>98.10046613613615</c:v>
                </c:pt>
                <c:pt idx="5">
                  <c:v>98.59162946657422</c:v>
                </c:pt>
                <c:pt idx="6">
                  <c:v>99.2369579657618</c:v>
                </c:pt>
                <c:pt idx="7">
                  <c:v>100.0</c:v>
                </c:pt>
                <c:pt idx="8">
                  <c:v>100.85195378794627</c:v>
                </c:pt>
                <c:pt idx="9">
                  <c:v>101.77010883868505</c:v>
                </c:pt>
                <c:pt idx="10">
                  <c:v>101.1309948283017</c:v>
                </c:pt>
                <c:pt idx="11">
                  <c:v>100.59248009239073</c:v>
                </c:pt>
                <c:pt idx="12">
                  <c:v>100.13269927410289</c:v>
                </c:pt>
                <c:pt idx="13">
                  <c:v>99.7345463449429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E$2:$E$16</c:f>
              <c:numCache>
                <c:formatCode>General</c:formatCode>
                <c:ptCount val="15"/>
                <c:pt idx="0">
                  <c:v>0.5486791296343507</c:v>
                </c:pt>
                <c:pt idx="1">
                  <c:v>0.5615740116447979</c:v>
                </c:pt>
                <c:pt idx="2">
                  <c:v>0.5737525113213314</c:v>
                </c:pt>
                <c:pt idx="3">
                  <c:v>0.5852727137180521</c:v>
                </c:pt>
                <c:pt idx="4">
                  <c:v>0.5961865896728401</c:v>
                </c:pt>
                <c:pt idx="5">
                  <c:v>0.6065407796812289</c:v>
                </c:pt>
                <c:pt idx="6">
                  <c:v>0.6163772601891984</c:v>
                </c:pt>
                <c:pt idx="7">
                  <c:v>0.6257339123797057</c:v>
                </c:pt>
                <c:pt idx="8">
                  <c:v>0.6346450097039984</c:v>
                </c:pt>
                <c:pt idx="9">
                  <c:v>0.6431416373853007</c:v>
                </c:pt>
                <c:pt idx="10">
                  <c:v>0.651252054717453</c:v>
                </c:pt>
                <c:pt idx="11">
                  <c:v>0.659002009057065</c:v>
                </c:pt>
                <c:pt idx="12">
                  <c:v>0.6664150088601722</c:v>
                </c:pt>
                <c:pt idx="13">
                  <c:v>0.673512561863147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46.02998121228083</c:v>
                </c:pt>
                <c:pt idx="1">
                  <c:v>138.90813760010798</c:v>
                </c:pt>
                <c:pt idx="2">
                  <c:v>132.6757757318682</c:v>
                </c:pt>
                <c:pt idx="3">
                  <c:v>127.15596174889654</c:v>
                </c:pt>
                <c:pt idx="4">
                  <c:v>125.264085081125</c:v>
                </c:pt>
                <c:pt idx="5">
                  <c:v>123.4125337616548</c:v>
                </c:pt>
                <c:pt idx="6">
                  <c:v>121.60003002881336</c:v>
                </c:pt>
                <c:pt idx="7">
                  <c:v>110.16190559271975</c:v>
                </c:pt>
                <c:pt idx="8">
                  <c:v>101.11577805825117</c:v>
                </c:pt>
                <c:pt idx="9">
                  <c:v>100.0</c:v>
                </c:pt>
                <c:pt idx="10">
                  <c:v>98.9583506081248</c:v>
                </c:pt>
                <c:pt idx="11">
                  <c:v>97.97815082667879</c:v>
                </c:pt>
                <c:pt idx="12">
                  <c:v>92.9554620086546</c:v>
                </c:pt>
                <c:pt idx="13">
                  <c:v>88.5615368588198</c:v>
                </c:pt>
                <c:pt idx="14">
                  <c:v>84.69458180093599</c:v>
                </c:pt>
                <c:pt idx="15">
                  <c:v>81.26835881032405</c:v>
                </c:pt>
                <c:pt idx="16">
                  <c:v>79.6740243419017</c:v>
                </c:pt>
                <c:pt idx="17">
                  <c:v>78.14170061364</c:v>
                </c:pt>
                <c:pt idx="18">
                  <c:v>76.6680269508018</c:v>
                </c:pt>
                <c:pt idx="19">
                  <c:v>74.6090044106071</c:v>
                </c:pt>
                <c:pt idx="20">
                  <c:v>72.69701739654374</c:v>
                </c:pt>
                <c:pt idx="21">
                  <c:v>70.9170651520417</c:v>
                </c:pt>
                <c:pt idx="22">
                  <c:v>69.255829222316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8</c:v>
                </c:pt>
                <c:pt idx="9">
                  <c:v>100.0</c:v>
                </c:pt>
                <c:pt idx="10">
                  <c:v>100.5485337917507</c:v>
                </c:pt>
                <c:pt idx="11">
                  <c:v>101.1268506048107</c:v>
                </c:pt>
                <c:pt idx="12">
                  <c:v>97.41988240554785</c:v>
                </c:pt>
                <c:pt idx="13">
                  <c:v>94.22449794143571</c:v>
                </c:pt>
                <c:pt idx="14">
                  <c:v>91.46010454837558</c:v>
                </c:pt>
                <c:pt idx="15">
                  <c:v>89.05686790482702</c:v>
                </c:pt>
                <c:pt idx="16">
                  <c:v>88.5857881375126</c:v>
                </c:pt>
                <c:pt idx="17">
                  <c:v>88.13371043153242</c:v>
                </c:pt>
                <c:pt idx="18">
                  <c:v>87.69975481108445</c:v>
                </c:pt>
                <c:pt idx="19">
                  <c:v>86.5395979797976</c:v>
                </c:pt>
                <c:pt idx="20">
                  <c:v>85.4868118579824</c:v>
                </c:pt>
                <c:pt idx="21">
                  <c:v>84.53049901886341</c:v>
                </c:pt>
                <c:pt idx="22">
                  <c:v>83.660848064099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10.5821626201081</c:v>
                </c:pt>
                <c:pt idx="1">
                  <c:v>108.93565951795439</c:v>
                </c:pt>
                <c:pt idx="2">
                  <c:v>107.62653010989015</c:v>
                </c:pt>
                <c:pt idx="3">
                  <c:v>106.5784455084207</c:v>
                </c:pt>
                <c:pt idx="4">
                  <c:v>108.37128856538239</c:v>
                </c:pt>
                <c:pt idx="5">
                  <c:v>110.09805295750282</c:v>
                </c:pt>
                <c:pt idx="6">
                  <c:v>111.76082721698768</c:v>
                </c:pt>
                <c:pt idx="7">
                  <c:v>104.21944362124857</c:v>
                </c:pt>
                <c:pt idx="8">
                  <c:v>98.38853463143367</c:v>
                </c:pt>
                <c:pt idx="9">
                  <c:v>100.0</c:v>
                </c:pt>
                <c:pt idx="10">
                  <c:v>101.6274049971365</c:v>
                </c:pt>
                <c:pt idx="11">
                  <c:v>103.26338470303493</c:v>
                </c:pt>
                <c:pt idx="12">
                  <c:v>100.47690458521794</c:v>
                </c:pt>
                <c:pt idx="13">
                  <c:v>98.11608408795479</c:v>
                </c:pt>
                <c:pt idx="14">
                  <c:v>96.11627809498981</c:v>
                </c:pt>
                <c:pt idx="15">
                  <c:v>94.41993228163847</c:v>
                </c:pt>
                <c:pt idx="16">
                  <c:v>94.71651566650581</c:v>
                </c:pt>
                <c:pt idx="17">
                  <c:v>95.0024868095289</c:v>
                </c:pt>
                <c:pt idx="18">
                  <c:v>95.27868682085372</c:v>
                </c:pt>
                <c:pt idx="19">
                  <c:v>94.73216627195448</c:v>
                </c:pt>
                <c:pt idx="20">
                  <c:v>94.26523487124088</c:v>
                </c:pt>
                <c:pt idx="21">
                  <c:v>93.86993405133555</c:v>
                </c:pt>
                <c:pt idx="22">
                  <c:v>93.5389590399514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399266080002575</c:v>
                </c:pt>
                <c:pt idx="1">
                  <c:v>0.5486072380379886</c:v>
                </c:pt>
                <c:pt idx="2">
                  <c:v>0.5569663632595072</c:v>
                </c:pt>
                <c:pt idx="3">
                  <c:v>0.5650215202911526</c:v>
                </c:pt>
                <c:pt idx="4">
                  <c:v>0.5727889931430962</c:v>
                </c:pt>
                <c:pt idx="5">
                  <c:v>0.5802839230879542</c:v>
                </c:pt>
                <c:pt idx="6">
                  <c:v>0.5875204071726448</c:v>
                </c:pt>
                <c:pt idx="7">
                  <c:v>0.5945115867120914</c:v>
                </c:pt>
                <c:pt idx="8">
                  <c:v>0.6012697269335566</c:v>
                </c:pt>
                <c:pt idx="9">
                  <c:v>0.6078062887871049</c:v>
                </c:pt>
                <c:pt idx="10">
                  <c:v>0.6141319938066676</c:v>
                </c:pt>
                <c:pt idx="11">
                  <c:v>0.6202568827938634</c:v>
                </c:pt>
                <c:pt idx="12">
                  <c:v>0.6261903690002092</c:v>
                </c:pt>
                <c:pt idx="13">
                  <c:v>0.6319412864002061</c:v>
                </c:pt>
                <c:pt idx="14">
                  <c:v>0.6375179335759604</c:v>
                </c:pt>
                <c:pt idx="15">
                  <c:v>0.6429281136718417</c:v>
                </c:pt>
                <c:pt idx="16">
                  <c:v>0.6481791708237263</c:v>
                </c:pt>
                <c:pt idx="17">
                  <c:v>0.6532780234204838</c:v>
                </c:pt>
                <c:pt idx="18">
                  <c:v>0.6582311945144771</c:v>
                </c:pt>
                <c:pt idx="19">
                  <c:v>0.6630448396621604</c:v>
                </c:pt>
                <c:pt idx="20">
                  <c:v>0.6677247724446304</c:v>
                </c:pt>
                <c:pt idx="21">
                  <c:v>0.6722764878905945</c:v>
                </c:pt>
                <c:pt idx="22">
                  <c:v>0.67670518400018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0</c:v>
                </c:pt>
                <c:pt idx="12">
                  <c:v>98.59927525708389</c:v>
                </c:pt>
                <c:pt idx="13">
                  <c:v>97.26435720558564</c:v>
                </c:pt>
                <c:pt idx="14">
                  <c:v>95.99005357372072</c:v>
                </c:pt>
                <c:pt idx="15">
                  <c:v>94.7717174202865</c:v>
                </c:pt>
                <c:pt idx="16">
                  <c:v>93.60517819650698</c:v>
                </c:pt>
                <c:pt idx="17">
                  <c:v>92.48668266237914</c:v>
                </c:pt>
                <c:pt idx="18">
                  <c:v>91.41284412767159</c:v>
                </c:pt>
                <c:pt idx="19">
                  <c:v>90.38059873893344</c:v>
                </c:pt>
                <c:pt idx="20">
                  <c:v>88.94597826293517</c:v>
                </c:pt>
                <c:pt idx="21">
                  <c:v>87.54280811417048</c:v>
                </c:pt>
                <c:pt idx="22">
                  <c:v>86.17021150197871</c:v>
                </c:pt>
                <c:pt idx="23">
                  <c:v>84.8273420849644</c:v>
                </c:pt>
                <c:pt idx="24">
                  <c:v>83.51338258019793</c:v>
                </c:pt>
                <c:pt idx="25">
                  <c:v>82.22754346382946</c:v>
                </c:pt>
                <c:pt idx="26">
                  <c:v>80.969061754684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c:v>
                </c:pt>
                <c:pt idx="7">
                  <c:v>99.96186248003906</c:v>
                </c:pt>
                <c:pt idx="8">
                  <c:v>99.99867234717453</c:v>
                </c:pt>
                <c:pt idx="9">
                  <c:v>100.07192787198733</c:v>
                </c:pt>
                <c:pt idx="10">
                  <c:v>100.17701758457649</c:v>
                </c:pt>
                <c:pt idx="11">
                  <c:v>100.0</c:v>
                </c:pt>
                <c:pt idx="12">
                  <c:v>99.85793338123867</c:v>
                </c:pt>
                <c:pt idx="13">
                  <c:v>99.74759045534643</c:v>
                </c:pt>
                <c:pt idx="14">
                  <c:v>99.66609737433478</c:v>
                </c:pt>
                <c:pt idx="15">
                  <c:v>99.61088882711937</c:v>
                </c:pt>
                <c:pt idx="16">
                  <c:v>99.57966942754486</c:v>
                </c:pt>
                <c:pt idx="17">
                  <c:v>99.570380446159</c:v>
                </c:pt>
                <c:pt idx="18">
                  <c:v>99.58117109686938</c:v>
                </c:pt>
                <c:pt idx="19">
                  <c:v>99.61037371086039</c:v>
                </c:pt>
                <c:pt idx="20">
                  <c:v>99.16455903605359</c:v>
                </c:pt>
                <c:pt idx="21">
                  <c:v>98.71760920882929</c:v>
                </c:pt>
                <c:pt idx="22">
                  <c:v>98.26972795252779</c:v>
                </c:pt>
                <c:pt idx="23">
                  <c:v>97.8211093247941</c:v>
                </c:pt>
                <c:pt idx="24">
                  <c:v>97.37193804299258</c:v>
                </c:pt>
                <c:pt idx="25">
                  <c:v>96.92238981047227</c:v>
                </c:pt>
                <c:pt idx="26">
                  <c:v>96.47263164183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D$2:$D$28</c:f>
              <c:numCache>
                <c:formatCode>General</c:formatCode>
                <c:ptCount val="27"/>
                <c:pt idx="0">
                  <c:v>93.9602802503618</c:v>
                </c:pt>
                <c:pt idx="1">
                  <c:v>94.51620513207412</c:v>
                </c:pt>
                <c:pt idx="2">
                  <c:v>95.07972638699877</c:v>
                </c:pt>
                <c:pt idx="3">
                  <c:v>95.64910913924606</c:v>
                </c:pt>
                <c:pt idx="4">
                  <c:v>96.12077991996632</c:v>
                </c:pt>
                <c:pt idx="5">
                  <c:v>96.63525448936471</c:v>
                </c:pt>
                <c:pt idx="6">
                  <c:v>97.18580066384993</c:v>
                </c:pt>
                <c:pt idx="7">
                  <c:v>97.766742070827</c:v>
                </c:pt>
                <c:pt idx="8">
                  <c:v>98.37328681027897</c:v>
                </c:pt>
                <c:pt idx="9">
                  <c:v>99.0013837523923</c:v>
                </c:pt>
                <c:pt idx="10">
                  <c:v>99.64760230612002</c:v>
                </c:pt>
                <c:pt idx="11">
                  <c:v>100.0</c:v>
                </c:pt>
                <c:pt idx="12">
                  <c:v>100.37235696273619</c:v>
                </c:pt>
                <c:pt idx="13">
                  <c:v>100.76250974116138</c:v>
                </c:pt>
                <c:pt idx="14">
                  <c:v>101.16853609721912</c:v>
                </c:pt>
                <c:pt idx="15">
                  <c:v>101.58872486513917</c:v>
                </c:pt>
                <c:pt idx="16">
                  <c:v>102.02154984740406</c:v>
                </c:pt>
                <c:pt idx="17">
                  <c:v>102.46564719031646</c:v>
                </c:pt>
                <c:pt idx="18">
                  <c:v>102.9197957572109</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E$2:$E$28</c:f>
              <c:numCache>
                <c:formatCode>General</c:formatCode>
                <c:ptCount val="27"/>
                <c:pt idx="0">
                  <c:v>0.6658057570744889</c:v>
                </c:pt>
                <c:pt idx="1">
                  <c:v>0.6707203782939816</c:v>
                </c:pt>
                <c:pt idx="2">
                  <c:v>0.6754925467245035</c:v>
                </c:pt>
                <c:pt idx="3">
                  <c:v>0.6801283674855821</c:v>
                </c:pt>
                <c:pt idx="4">
                  <c:v>0.6846336017463485</c:v>
                </c:pt>
                <c:pt idx="5">
                  <c:v>0.6890136906109826</c:v>
                </c:pt>
                <c:pt idx="6">
                  <c:v>0.6932737770409692</c:v>
                </c:pt>
                <c:pt idx="7">
                  <c:v>0.697418725999875</c:v>
                </c:pt>
                <c:pt idx="8">
                  <c:v>0.7014531429865433</c:v>
                </c:pt>
                <c:pt idx="9">
                  <c:v>0.7053813911051414</c:v>
                </c:pt>
                <c:pt idx="10">
                  <c:v>0.7092076068050747</c:v>
                </c:pt>
                <c:pt idx="11">
                  <c:v>0.7129357144101377</c:v>
                </c:pt>
                <c:pt idx="12">
                  <c:v>0.7165694395441866</c:v>
                </c:pt>
                <c:pt idx="13">
                  <c:v>0.7201123215498844</c:v>
                </c:pt>
                <c:pt idx="14">
                  <c:v>0.7235677249875401</c:v>
                </c:pt>
                <c:pt idx="15">
                  <c:v>0.7269388502925701</c:v>
                </c:pt>
                <c:pt idx="16">
                  <c:v>0.7302287436625391</c:v>
                </c:pt>
                <c:pt idx="17">
                  <c:v>0.7334403062379852</c:v>
                </c:pt>
                <c:pt idx="18">
                  <c:v>0.7365763026351853</c:v>
                </c:pt>
                <c:pt idx="19">
                  <c:v>0.7396393688836134</c:v>
                </c:pt>
                <c:pt idx="20">
                  <c:v>0.7426320198159856</c:v>
                </c:pt>
                <c:pt idx="21">
                  <c:v>0.7455566559544403</c:v>
                </c:pt>
                <c:pt idx="22">
                  <c:v>0.7484155699324803</c:v>
                </c:pt>
                <c:pt idx="23">
                  <c:v>0.7512109524887861</c:v>
                </c:pt>
                <c:pt idx="24">
                  <c:v>0.7539448980658325</c:v>
                </c:pt>
                <c:pt idx="25">
                  <c:v>0.7566194100433776</c:v>
                </c:pt>
                <c:pt idx="26">
                  <c:v>0.7592364056343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0</c:v>
                </c:pt>
                <c:pt idx="11">
                  <c:v>98.60676064292791</c:v>
                </c:pt>
                <c:pt idx="12">
                  <c:v>97.28292031187473</c:v>
                </c:pt>
                <c:pt idx="13">
                  <c:v>96.02186860763194</c:v>
                </c:pt>
                <c:pt idx="14">
                  <c:v>94.81786753697385</c:v>
                </c:pt>
                <c:pt idx="15">
                  <c:v>93.66591493010873</c:v>
                </c:pt>
                <c:pt idx="16">
                  <c:v>91.81600190904268</c:v>
                </c:pt>
                <c:pt idx="17">
                  <c:v>90.0574811879707</c:v>
                </c:pt>
                <c:pt idx="18">
                  <c:v>88.38328596947382</c:v>
                </c:pt>
                <c:pt idx="19">
                  <c:v>86.78705731374677</c:v>
                </c:pt>
                <c:pt idx="20">
                  <c:v>85.26306016948033</c:v>
                </c:pt>
                <c:pt idx="21">
                  <c:v>83.80611051992375</c:v>
                </c:pt>
                <c:pt idx="22">
                  <c:v>82.41151207681764</c:v>
                </c:pt>
                <c:pt idx="23">
                  <c:v>81.07500118030741</c:v>
                </c:pt>
                <c:pt idx="24">
                  <c:v>79.792698757142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0</c:v>
                </c:pt>
                <c:pt idx="11">
                  <c:v>99.9699388518138</c:v>
                </c:pt>
                <c:pt idx="12">
                  <c:v>99.9726668989236</c:v>
                </c:pt>
                <c:pt idx="13">
                  <c:v>100.00417393597898</c:v>
                </c:pt>
                <c:pt idx="14">
                  <c:v>100.06100568490832</c:v>
                </c:pt>
                <c:pt idx="15">
                  <c:v>100.1401779123936</c:v>
                </c:pt>
                <c:pt idx="16">
                  <c:v>99.429350452389</c:v>
                </c:pt>
                <c:pt idx="17">
                  <c:v>98.76779808923214</c:v>
                </c:pt>
                <c:pt idx="18">
                  <c:v>98.15144241697594</c:v>
                </c:pt>
                <c:pt idx="19">
                  <c:v>97.57661279554739</c:v>
                </c:pt>
                <c:pt idx="20">
                  <c:v>97.03999931767179</c:v>
                </c:pt>
                <c:pt idx="21">
                  <c:v>96.53861167957366</c:v>
                </c:pt>
                <c:pt idx="22">
                  <c:v>96.06974319239463</c:v>
                </c:pt>
                <c:pt idx="23">
                  <c:v>95.63093926604253</c:v>
                </c:pt>
                <c:pt idx="24">
                  <c:v>95.219969782308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97.11276090995108</c:v>
                </c:pt>
                <c:pt idx="1">
                  <c:v>98.14989698422336</c:v>
                </c:pt>
                <c:pt idx="2">
                  <c:v>97.36993922366956</c:v>
                </c:pt>
                <c:pt idx="3">
                  <c:v>96.84960242318682</c:v>
                </c:pt>
                <c:pt idx="4">
                  <c:v>96.53146930008177</c:v>
                </c:pt>
                <c:pt idx="5">
                  <c:v>96.37186286939261</c:v>
                </c:pt>
                <c:pt idx="6">
                  <c:v>97.12739788043466</c:v>
                </c:pt>
                <c:pt idx="7">
                  <c:v>97.87476864368114</c:v>
                </c:pt>
                <c:pt idx="8">
                  <c:v>98.61341287516943</c:v>
                </c:pt>
                <c:pt idx="9">
                  <c:v>99.29707000596653</c:v>
                </c:pt>
                <c:pt idx="10">
                  <c:v>10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5917950709915295</c:v>
                </c:pt>
                <c:pt idx="1">
                  <c:v>0.5982745143091244</c:v>
                </c:pt>
                <c:pt idx="2">
                  <c:v>0.6045514750230444</c:v>
                </c:pt>
                <c:pt idx="3">
                  <c:v>0.6106352984842283</c:v>
                </c:pt>
                <c:pt idx="4">
                  <c:v>0.6165347636587097</c:v>
                </c:pt>
                <c:pt idx="5">
                  <c:v>0.6222581253951468</c:v>
                </c:pt>
                <c:pt idx="6">
                  <c:v>0.6278131529628652</c:v>
                </c:pt>
                <c:pt idx="7">
                  <c:v>0.6332071652387657</c:v>
                </c:pt>
                <c:pt idx="8">
                  <c:v>0.6384470628782118</c:v>
                </c:pt>
                <c:pt idx="9">
                  <c:v>0.6435393577672512</c:v>
                </c:pt>
                <c:pt idx="10">
                  <c:v>0.6484902000204839</c:v>
                </c:pt>
                <c:pt idx="11">
                  <c:v>0.6533054027599293</c:v>
                </c:pt>
                <c:pt idx="12">
                  <c:v>0.6579904648847951</c:v>
                </c:pt>
                <c:pt idx="13">
                  <c:v>0.6625505920196645</c:v>
                </c:pt>
                <c:pt idx="14">
                  <c:v>0.6669907158088795</c:v>
                </c:pt>
                <c:pt idx="15">
                  <c:v>0.6713155117074654</c:v>
                </c:pt>
                <c:pt idx="16">
                  <c:v>0.6755294154035235</c:v>
                </c:pt>
                <c:pt idx="17">
                  <c:v>0.6796366379933523</c:v>
                </c:pt>
                <c:pt idx="18">
                  <c:v>0.6836411800184354</c:v>
                </c:pt>
                <c:pt idx="19">
                  <c:v>0.6875468444626524</c:v>
                </c:pt>
                <c:pt idx="20">
                  <c:v>0.6913572487984736</c:v>
                </c:pt>
                <c:pt idx="21">
                  <c:v>0.6950758361623475</c:v>
                </c:pt>
                <c:pt idx="22">
                  <c:v>0.6987058857318432</c:v>
                </c:pt>
                <c:pt idx="23">
                  <c:v>0.7022505223702922</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0</c:v>
                </c:pt>
                <c:pt idx="11">
                  <c:v>98.34753373738818</c:v>
                </c:pt>
                <c:pt idx="12">
                  <c:v>96.79176367065102</c:v>
                </c:pt>
                <c:pt idx="13">
                  <c:v>95.32183390017266</c:v>
                </c:pt>
                <c:pt idx="14">
                  <c:v>93.92852364759142</c:v>
                </c:pt>
                <c:pt idx="15">
                  <c:v>92.60396611853325</c:v>
                </c:pt>
                <c:pt idx="16">
                  <c:v>91.34141885095673</c:v>
                </c:pt>
                <c:pt idx="17">
                  <c:v>90.1350759191487</c:v>
                </c:pt>
                <c:pt idx="18">
                  <c:v>88.57540032890368</c:v>
                </c:pt>
                <c:pt idx="19">
                  <c:v>87.0909139192343</c:v>
                </c:pt>
                <c:pt idx="20">
                  <c:v>85.67553592261928</c:v>
                </c:pt>
                <c:pt idx="21">
                  <c:v>84.32383671792701</c:v>
                </c:pt>
                <c:pt idx="22">
                  <c:v>83.03095519814363</c:v>
                </c:pt>
                <c:pt idx="23">
                  <c:v>81.79252783799934</c:v>
                </c:pt>
                <c:pt idx="24">
                  <c:v>80.60462768024284</c:v>
                </c:pt>
                <c:pt idx="25">
                  <c:v>79.46371174286327</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0</c:v>
                </c:pt>
                <c:pt idx="11">
                  <c:v>99.74576321501371</c:v>
                </c:pt>
                <c:pt idx="12">
                  <c:v>99.54395310712735</c:v>
                </c:pt>
                <c:pt idx="13">
                  <c:v>99.38737460493827</c:v>
                </c:pt>
                <c:pt idx="14">
                  <c:v>99.26994380125151</c:v>
                </c:pt>
                <c:pt idx="15">
                  <c:v>99.18650294060927</c:v>
                </c:pt>
                <c:pt idx="16">
                  <c:v>99.1326673367218</c:v>
                </c:pt>
                <c:pt idx="17">
                  <c:v>99.10469874581513</c:v>
                </c:pt>
                <c:pt idx="18">
                  <c:v>98.64723823383919</c:v>
                </c:pt>
                <c:pt idx="19">
                  <c:v>98.23035041426478</c:v>
                </c:pt>
                <c:pt idx="20">
                  <c:v>97.85028431627507</c:v>
                </c:pt>
                <c:pt idx="21">
                  <c:v>97.50369785439833</c:v>
                </c:pt>
                <c:pt idx="22">
                  <c:v>97.1876071192568</c:v>
                </c:pt>
                <c:pt idx="23">
                  <c:v>96.89934252843202</c:v>
                </c:pt>
                <c:pt idx="24">
                  <c:v>96.63651085713367</c:v>
                </c:pt>
                <c:pt idx="25">
                  <c:v>96.396962311608</c:v>
                </c:pt>
                <c:pt idx="26">
                  <c:v>96.178761931161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4</c:v>
                </c:pt>
                <c:pt idx="7">
                  <c:v>99.08021017564448</c:v>
                </c:pt>
                <c:pt idx="8">
                  <c:v>99.37975051169911</c:v>
                </c:pt>
                <c:pt idx="9">
                  <c:v>99.6869769912436</c:v>
                </c:pt>
                <c:pt idx="10">
                  <c:v>10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792312665554077</c:v>
                </c:pt>
                <c:pt idx="1">
                  <c:v>0.6844897703823682</c:v>
                </c:pt>
                <c:pt idx="2">
                  <c:v>0.6895786450536203</c:v>
                </c:pt>
                <c:pt idx="3">
                  <c:v>0.6945059681480072</c:v>
                </c:pt>
                <c:pt idx="4">
                  <c:v>0.6992793123956947</c:v>
                </c:pt>
                <c:pt idx="5">
                  <c:v>0.703905784512684</c:v>
                </c:pt>
                <c:pt idx="6">
                  <c:v>0.7083920605049162</c:v>
                </c:pt>
                <c:pt idx="7">
                  <c:v>0.712744417810813</c:v>
                </c:pt>
                <c:pt idx="8">
                  <c:v>0.7169687646077127</c:v>
                </c:pt>
                <c:pt idx="9">
                  <c:v>0.7210706665699197</c:v>
                </c:pt>
                <c:pt idx="10">
                  <c:v>0.7250553713332066</c:v>
                </c:pt>
                <c:pt idx="11">
                  <c:v>0.7289278308918938</c:v>
                </c:pt>
                <c:pt idx="12">
                  <c:v>0.7326927221295064</c:v>
                </c:pt>
                <c:pt idx="13">
                  <c:v>0.7363544656619789</c:v>
                </c:pt>
                <c:pt idx="14">
                  <c:v>0.7399172431530332</c:v>
                </c:pt>
                <c:pt idx="15">
                  <c:v>0.7433850132443262</c:v>
                </c:pt>
                <c:pt idx="16">
                  <c:v>0.7467615262279536</c:v>
                </c:pt>
                <c:pt idx="17">
                  <c:v>0.7500503375756424</c:v>
                </c:pt>
                <c:pt idx="18">
                  <c:v>0.7532548204272367</c:v>
                </c:pt>
                <c:pt idx="19">
                  <c:v>0.7563781771306894</c:v>
                </c:pt>
                <c:pt idx="20">
                  <c:v>0.7594234499165557</c:v>
                </c:pt>
                <c:pt idx="21">
                  <c:v>0.7623935307817834</c:v>
                </c:pt>
                <c:pt idx="22">
                  <c:v>0.7652911706502983</c:v>
                </c:pt>
                <c:pt idx="23">
                  <c:v>0.7681189878713791</c:v>
                </c:pt>
                <c:pt idx="24">
                  <c:v>0.7708794761110055</c:v>
                </c:pt>
                <c:pt idx="25">
                  <c:v>0.7735750116861702</c:v>
                </c:pt>
                <c:pt idx="26">
                  <c:v>0.77620786038749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62.73834740459196</c:v>
                </c:pt>
                <c:pt idx="1">
                  <c:v>154.7597141663797</c:v>
                </c:pt>
                <c:pt idx="2">
                  <c:v>147.7218301198963</c:v>
                </c:pt>
                <c:pt idx="3">
                  <c:v>141.4719709760562</c:v>
                </c:pt>
                <c:pt idx="4">
                  <c:v>139.71752911790225</c:v>
                </c:pt>
                <c:pt idx="5">
                  <c:v>137.9973932359988</c:v>
                </c:pt>
                <c:pt idx="6">
                  <c:v>136.31044515495913</c:v>
                </c:pt>
                <c:pt idx="7">
                  <c:v>116.63258636602067</c:v>
                </c:pt>
                <c:pt idx="8">
                  <c:v>101.12196414094312</c:v>
                </c:pt>
                <c:pt idx="9">
                  <c:v>100.0</c:v>
                </c:pt>
                <c:pt idx="10">
                  <c:v>98.9538709884364</c:v>
                </c:pt>
                <c:pt idx="11">
                  <c:v>97.97124630081223</c:v>
                </c:pt>
                <c:pt idx="12">
                  <c:v>91.71026433866129</c:v>
                </c:pt>
                <c:pt idx="13">
                  <c:v>86.27269594744467</c:v>
                </c:pt>
                <c:pt idx="14">
                  <c:v>81.53226911079156</c:v>
                </c:pt>
                <c:pt idx="15">
                  <c:v>77.3743240130453</c:v>
                </c:pt>
                <c:pt idx="16">
                  <c:v>75.49745242729965</c:v>
                </c:pt>
                <c:pt idx="17">
                  <c:v>73.69425220249246</c:v>
                </c:pt>
                <c:pt idx="18">
                  <c:v>71.96086448671983</c:v>
                </c:pt>
                <c:pt idx="19">
                  <c:v>69.5216530126233</c:v>
                </c:pt>
                <c:pt idx="20">
                  <c:v>67.26582699674195</c:v>
                </c:pt>
                <c:pt idx="21">
                  <c:v>65.1744178538742</c:v>
                </c:pt>
                <c:pt idx="22">
                  <c:v>63.230567143522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39.6818089194084</c:v>
                </c:pt>
                <c:pt idx="1">
                  <c:v>135.27874683387938</c:v>
                </c:pt>
                <c:pt idx="2">
                  <c:v>131.4656895776933</c:v>
                </c:pt>
                <c:pt idx="3">
                  <c:v>128.14745409786534</c:v>
                </c:pt>
                <c:pt idx="4">
                  <c:v>128.80420105975912</c:v>
                </c:pt>
                <c:pt idx="5">
                  <c:v>129.43598971104646</c:v>
                </c:pt>
                <c:pt idx="6">
                  <c:v>130.0434624493635</c:v>
                </c:pt>
                <c:pt idx="7">
                  <c:v>112.99429504284042</c:v>
                </c:pt>
                <c:pt idx="8">
                  <c:v>99.49228018737738</c:v>
                </c:pt>
                <c:pt idx="9">
                  <c:v>100.0</c:v>
                </c:pt>
                <c:pt idx="10">
                  <c:v>100.5485378562422</c:v>
                </c:pt>
                <c:pt idx="11">
                  <c:v>101.12877785303588</c:v>
                </c:pt>
                <c:pt idx="12">
                  <c:v>96.12335619508758</c:v>
                </c:pt>
                <c:pt idx="13">
                  <c:v>91.7974591251903</c:v>
                </c:pt>
                <c:pt idx="14">
                  <c:v>88.0532399724025</c:v>
                </c:pt>
                <c:pt idx="15">
                  <c:v>84.79777219816188</c:v>
                </c:pt>
                <c:pt idx="16">
                  <c:v>83.95143293685699</c:v>
                </c:pt>
                <c:pt idx="17">
                  <c:v>83.12819516551134</c:v>
                </c:pt>
                <c:pt idx="18">
                  <c:v>82.3271703069451</c:v>
                </c:pt>
                <c:pt idx="19">
                  <c:v>80.65159692535907</c:v>
                </c:pt>
                <c:pt idx="20">
                  <c:v>79.11395753999632</c:v>
                </c:pt>
                <c:pt idx="21">
                  <c:v>77.70036760945366</c:v>
                </c:pt>
                <c:pt idx="22">
                  <c:v>76.3982934427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0</c:v>
                </c:pt>
                <c:pt idx="10">
                  <c:v>101.68844885291574</c:v>
                </c:pt>
                <c:pt idx="11">
                  <c:v>103.38609260876437</c:v>
                </c:pt>
                <c:pt idx="12">
                  <c:v>99.31346943718711</c:v>
                </c:pt>
                <c:pt idx="13">
                  <c:v>95.80923665233146</c:v>
                </c:pt>
                <c:pt idx="14">
                  <c:v>92.79793947436907</c:v>
                </c:pt>
                <c:pt idx="15">
                  <c:v>90.203702688884</c:v>
                </c:pt>
                <c:pt idx="16">
                  <c:v>90.10199109961488</c:v>
                </c:pt>
                <c:pt idx="17">
                  <c:v>89.98650383847674</c:v>
                </c:pt>
                <c:pt idx="18">
                  <c:v>89.85853000012426</c:v>
                </c:pt>
                <c:pt idx="19">
                  <c:v>88.73387498345929</c:v>
                </c:pt>
                <c:pt idx="20">
                  <c:v>87.71353699274083</c:v>
                </c:pt>
                <c:pt idx="21">
                  <c:v>86.78746061166864</c:v>
                </c:pt>
                <c:pt idx="22">
                  <c:v>85.946361867324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228107611570312</c:v>
                </c:pt>
                <c:pt idx="1">
                  <c:v>0.5318143317012382</c:v>
                </c:pt>
                <c:pt idx="2">
                  <c:v>0.5404844366697338</c:v>
                </c:pt>
                <c:pt idx="3">
                  <c:v>0.5488392650939204</c:v>
                </c:pt>
                <c:pt idx="4">
                  <c:v>0.5568957067886718</c:v>
                </c:pt>
                <c:pt idx="5">
                  <c:v>0.5646694663186951</c:v>
                </c:pt>
                <c:pt idx="6">
                  <c:v>0.5721751651752693</c:v>
                </c:pt>
                <c:pt idx="7">
                  <c:v>0.5794264335621293</c:v>
                </c:pt>
                <c:pt idx="8">
                  <c:v>0.5864359930027604</c:v>
                </c:pt>
                <c:pt idx="9">
                  <c:v>0.5932157308223872</c:v>
                </c:pt>
                <c:pt idx="10">
                  <c:v>0.5997767674220262</c:v>
                </c:pt>
                <c:pt idx="11">
                  <c:v>0.6061295171454861</c:v>
                </c:pt>
                <c:pt idx="12">
                  <c:v>0.6122837434400877</c:v>
                </c:pt>
                <c:pt idx="13">
                  <c:v>0.6182486089256248</c:v>
                </c:pt>
                <c:pt idx="14">
                  <c:v>0.6240327209116003</c:v>
                </c:pt>
                <c:pt idx="15">
                  <c:v>0.6296441728382929</c:v>
                </c:pt>
                <c:pt idx="16">
                  <c:v>0.6350905820612592</c:v>
                </c:pt>
                <c:pt idx="17">
                  <c:v>0.6403791243502264</c:v>
                </c:pt>
                <c:pt idx="18">
                  <c:v>0.6455165654309375</c:v>
                </c:pt>
                <c:pt idx="19">
                  <c:v>0.6505092898614876</c:v>
                </c:pt>
                <c:pt idx="20">
                  <c:v>0.6553633275023003</c:v>
                </c:pt>
                <c:pt idx="21">
                  <c:v>0.660084377810488</c:v>
                </c:pt>
                <c:pt idx="22">
                  <c:v>0.66467783216440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2</c:v>
                </c:pt>
                <c:pt idx="7">
                  <c:v>113.24000444095303</c:v>
                </c:pt>
                <c:pt idx="8">
                  <c:v>101.02819926007652</c:v>
                </c:pt>
                <c:pt idx="9">
                  <c:v>100.0</c:v>
                </c:pt>
                <c:pt idx="10">
                  <c:v>99.03775576484749</c:v>
                </c:pt>
                <c:pt idx="11">
                  <c:v>98.13084660737516</c:v>
                </c:pt>
                <c:pt idx="12">
                  <c:v>92.78293638580651</c:v>
                </c:pt>
                <c:pt idx="13">
                  <c:v>88.16703197482062</c:v>
                </c:pt>
                <c:pt idx="14">
                  <c:v>84.14472548428836</c:v>
                </c:pt>
                <c:pt idx="15">
                  <c:v>80.60379476406825</c:v>
                </c:pt>
                <c:pt idx="16">
                  <c:v>78.90334677428402</c:v>
                </c:pt>
                <c:pt idx="17">
                  <c:v>77.26647159847377</c:v>
                </c:pt>
                <c:pt idx="18">
                  <c:v>75.68945963518362</c:v>
                </c:pt>
                <c:pt idx="19">
                  <c:v>73.45367225870211</c:v>
                </c:pt>
                <c:pt idx="20">
                  <c:v>71.37352620915837</c:v>
                </c:pt>
                <c:pt idx="21">
                  <c:v>69.43206474103819</c:v>
                </c:pt>
                <c:pt idx="22">
                  <c:v>67.614565828751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4</c:v>
                </c:pt>
                <c:pt idx="9">
                  <c:v>100.0</c:v>
                </c:pt>
                <c:pt idx="10">
                  <c:v>100.64083064671053</c:v>
                </c:pt>
                <c:pt idx="11">
                  <c:v>101.30752821564832</c:v>
                </c:pt>
                <c:pt idx="12">
                  <c:v>97.2745573620478</c:v>
                </c:pt>
                <c:pt idx="13">
                  <c:v>93.8507963713929</c:v>
                </c:pt>
                <c:pt idx="14">
                  <c:v>90.92144394211697</c:v>
                </c:pt>
                <c:pt idx="15">
                  <c:v>88.39167710209182</c:v>
                </c:pt>
                <c:pt idx="16">
                  <c:v>87.7999525401238</c:v>
                </c:pt>
                <c:pt idx="17">
                  <c:v>87.22521111525337</c:v>
                </c:pt>
                <c:pt idx="18">
                  <c:v>86.66627266414315</c:v>
                </c:pt>
                <c:pt idx="19">
                  <c:v>85.29081531167729</c:v>
                </c:pt>
                <c:pt idx="20">
                  <c:v>84.02678733073824</c:v>
                </c:pt>
                <c:pt idx="21">
                  <c:v>82.86142454591585</c:v>
                </c:pt>
                <c:pt idx="22">
                  <c:v>81.7835831422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6</c:v>
                </c:pt>
                <c:pt idx="9">
                  <c:v>100.0</c:v>
                </c:pt>
                <c:pt idx="10">
                  <c:v>101.64519279331428</c:v>
                </c:pt>
                <c:pt idx="11">
                  <c:v>103.29796698692799</c:v>
                </c:pt>
                <c:pt idx="12">
                  <c:v>100.11122231294269</c:v>
                </c:pt>
                <c:pt idx="13">
                  <c:v>97.45197515980166</c:v>
                </c:pt>
                <c:pt idx="14">
                  <c:v>95.22141392919036</c:v>
                </c:pt>
                <c:pt idx="15">
                  <c:v>93.33647337615956</c:v>
                </c:pt>
                <c:pt idx="16">
                  <c:v>93.44475621175145</c:v>
                </c:pt>
                <c:pt idx="17">
                  <c:v>93.54046387941305</c:v>
                </c:pt>
                <c:pt idx="18">
                  <c:v>93.62402896926775</c:v>
                </c:pt>
                <c:pt idx="19">
                  <c:v>92.79233996629377</c:v>
                </c:pt>
                <c:pt idx="20">
                  <c:v>92.04364045175735</c:v>
                </c:pt>
                <c:pt idx="21">
                  <c:v>91.36790953120553</c:v>
                </c:pt>
                <c:pt idx="22">
                  <c:v>90.7563401568625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573615133853455</c:v>
                </c:pt>
                <c:pt idx="1">
                  <c:v>0.5657131829441128</c:v>
                </c:pt>
                <c:pt idx="2">
                  <c:v>0.5737555314081104</c:v>
                </c:pt>
                <c:pt idx="3">
                  <c:v>0.581505430837054</c:v>
                </c:pt>
                <c:pt idx="4">
                  <c:v>0.5889785481435351</c:v>
                </c:pt>
                <c:pt idx="5">
                  <c:v>0.5961894508076837</c:v>
                </c:pt>
                <c:pt idx="6">
                  <c:v>0.6031517016558272</c:v>
                </c:pt>
                <c:pt idx="7">
                  <c:v>0.6098779440006435</c:v>
                </c:pt>
                <c:pt idx="8">
                  <c:v>0.6163799782672994</c:v>
                </c:pt>
                <c:pt idx="9">
                  <c:v>0.6226688310825895</c:v>
                </c:pt>
                <c:pt idx="10">
                  <c:v>0.6287548176780317</c:v>
                </c:pt>
                <c:pt idx="11">
                  <c:v>0.634647598349809</c:v>
                </c:pt>
                <c:pt idx="12">
                  <c:v>0.6403562296255932</c:v>
                </c:pt>
                <c:pt idx="13">
                  <c:v>0.6458892107082763</c:v>
                </c:pt>
                <c:pt idx="14">
                  <c:v>0.6512545256975449</c:v>
                </c:pt>
                <c:pt idx="15">
                  <c:v>0.6564596820304173</c:v>
                </c:pt>
                <c:pt idx="16">
                  <c:v>0.66151174552997</c:v>
                </c:pt>
                <c:pt idx="17">
                  <c:v>0.6664173724063474</c:v>
                </c:pt>
                <c:pt idx="18">
                  <c:v>0.6711828385148281</c:v>
                </c:pt>
                <c:pt idx="19">
                  <c:v>0.67581406614138</c:v>
                </c:pt>
                <c:pt idx="20">
                  <c:v>0.6803166485560829</c:v>
                </c:pt>
                <c:pt idx="21">
                  <c:v>0.6846958725484652</c:v>
                </c:pt>
                <c:pt idx="22">
                  <c:v>0.6889567391356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c:v>
                </c:pt>
                <c:pt idx="9">
                  <c:v>101.67166926396047</c:v>
                </c:pt>
                <c:pt idx="10">
                  <c:v>100.0</c:v>
                </c:pt>
                <c:pt idx="11">
                  <c:v>98.25119182863901</c:v>
                </c:pt>
                <c:pt idx="12">
                  <c:v>96.61017029929695</c:v>
                </c:pt>
                <c:pt idx="13">
                  <c:v>95.0650005331438</c:v>
                </c:pt>
                <c:pt idx="14">
                  <c:v>93.6054859948074</c:v>
                </c:pt>
                <c:pt idx="15">
                  <c:v>92.22287664068183</c:v>
                </c:pt>
                <c:pt idx="16">
                  <c:v>90.9096301205402</c:v>
                </c:pt>
                <c:pt idx="17">
                  <c:v>89.65921596316274</c:v>
                </c:pt>
                <c:pt idx="18">
                  <c:v>88.06653952719851</c:v>
                </c:pt>
                <c:pt idx="19">
                  <c:v>86.55084840070928</c:v>
                </c:pt>
                <c:pt idx="20">
                  <c:v>85.10596382347686</c:v>
                </c:pt>
                <c:pt idx="21">
                  <c:v>83.72636266531612</c:v>
                </c:pt>
                <c:pt idx="22">
                  <c:v>82.40709490227822</c:v>
                </c:pt>
                <c:pt idx="23">
                  <c:v>81.14371273259503</c:v>
                </c:pt>
                <c:pt idx="24">
                  <c:v>79.9322095527048</c:v>
                </c:pt>
                <c:pt idx="25">
                  <c:v>78.76896730199272</c:v>
                </c:pt>
                <c:pt idx="26">
                  <c:v>77.650710924707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0</c:v>
                </c:pt>
                <c:pt idx="11">
                  <c:v>99.65150577998469</c:v>
                </c:pt>
                <c:pt idx="12">
                  <c:v>99.3640102948813</c:v>
                </c:pt>
                <c:pt idx="13">
                  <c:v>99.12967596036938</c:v>
                </c:pt>
                <c:pt idx="14">
                  <c:v>98.9418225724176</c:v>
                </c:pt>
                <c:pt idx="15">
                  <c:v>98.7947384525097</c:v>
                </c:pt>
                <c:pt idx="16">
                  <c:v>98.68352424648434</c:v>
                </c:pt>
                <c:pt idx="17">
                  <c:v>98.6039635905078</c:v>
                </c:pt>
                <c:pt idx="18">
                  <c:v>98.10670287320335</c:v>
                </c:pt>
                <c:pt idx="19">
                  <c:v>97.65095626542097</c:v>
                </c:pt>
                <c:pt idx="20">
                  <c:v>97.23295006924823</c:v>
                </c:pt>
                <c:pt idx="21">
                  <c:v>96.84931756788872</c:v>
                </c:pt>
                <c:pt idx="22">
                  <c:v>96.497048983137</c:v>
                </c:pt>
                <c:pt idx="23">
                  <c:v>96.17344819420352</c:v>
                </c:pt>
                <c:pt idx="24">
                  <c:v>95.87609524021306</c:v>
                </c:pt>
                <c:pt idx="25">
                  <c:v>95.602813776564</c:v>
                </c:pt>
                <c:pt idx="26">
                  <c:v>95.351642780480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4</c:v>
                </c:pt>
                <c:pt idx="9">
                  <c:v>99.45536115314594</c:v>
                </c:pt>
                <c:pt idx="10">
                  <c:v>10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5979056474432326</c:v>
                </c:pt>
                <c:pt idx="1">
                  <c:v>0.6044973581408846</c:v>
                </c:pt>
                <c:pt idx="2">
                  <c:v>0.6108764330095799</c:v>
                </c:pt>
                <c:pt idx="3">
                  <c:v>0.6170529975649836</c:v>
                </c:pt>
                <c:pt idx="4">
                  <c:v>0.6230365444780305</c:v>
                </c:pt>
                <c:pt idx="5">
                  <c:v>0.6288359822552917</c:v>
                </c:pt>
                <c:pt idx="6">
                  <c:v>0.634459679493848</c:v>
                </c:pt>
                <c:pt idx="7">
                  <c:v>0.6399155051730442</c:v>
                </c:pt>
                <c:pt idx="8">
                  <c:v>0.6452108653910877</c:v>
                </c:pt>
                <c:pt idx="9">
                  <c:v>0.6503527369071588</c:v>
                </c:pt>
                <c:pt idx="10">
                  <c:v>0.6553476978084851</c:v>
                </c:pt>
                <c:pt idx="11">
                  <c:v>0.6602019555858304</c:v>
                </c:pt>
                <c:pt idx="12">
                  <c:v>0.6649213728693606</c:v>
                </c:pt>
                <c:pt idx="13">
                  <c:v>0.6695114910492325</c:v>
                </c:pt>
                <c:pt idx="14">
                  <c:v>0.6739775519809995</c:v>
                </c:pt>
                <c:pt idx="15">
                  <c:v>0.678324517954586</c:v>
                </c:pt>
                <c:pt idx="16">
                  <c:v>0.6825570900867626</c:v>
                </c:pt>
                <c:pt idx="17">
                  <c:v>0.6866797252804411</c:v>
                </c:pt>
                <c:pt idx="18">
                  <c:v>0.6906966518794098</c:v>
                </c:pt>
                <c:pt idx="19">
                  <c:v>0.6946118841341008</c:v>
                </c:pt>
                <c:pt idx="20">
                  <c:v>0.6984292355824244</c:v>
                </c:pt>
                <c:pt idx="21">
                  <c:v>0.7021523314394316</c:v>
                </c:pt>
                <c:pt idx="22">
                  <c:v>0.7057846200804142</c:v>
                </c:pt>
                <c:pt idx="23">
                  <c:v>0.7093293836939031</c:v>
                </c:pt>
                <c:pt idx="24">
                  <c:v>0.7127897481737376</c:v>
                </c:pt>
                <c:pt idx="25">
                  <c:v>0.7161686923128702</c:v>
                </c:pt>
                <c:pt idx="26">
                  <c:v>0.71946905635574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B$2:$B$23</c:f>
              <c:numCache>
                <c:formatCode>General</c:formatCode>
                <c:ptCount val="22"/>
                <c:pt idx="0">
                  <c:v>134.06346647362523</c:v>
                </c:pt>
                <c:pt idx="1">
                  <c:v>127.65936388159227</c:v>
                </c:pt>
                <c:pt idx="2">
                  <c:v>125.7343314498524</c:v>
                </c:pt>
                <c:pt idx="3">
                  <c:v>123.87377192585951</c:v>
                </c:pt>
                <c:pt idx="4">
                  <c:v>122.07380077476604</c:v>
                </c:pt>
                <c:pt idx="5">
                  <c:v>112.88065357415135</c:v>
                </c:pt>
                <c:pt idx="6">
                  <c:v>105.59920079849559</c:v>
                </c:pt>
                <c:pt idx="7">
                  <c:v>102.59976234626653</c:v>
                </c:pt>
                <c:pt idx="8">
                  <c:v>100.0</c:v>
                </c:pt>
                <c:pt idx="9">
                  <c:v>97.7030961718577</c:v>
                </c:pt>
                <c:pt idx="10">
                  <c:v>95.5688308397783</c:v>
                </c:pt>
                <c:pt idx="11">
                  <c:v>93.6260860630323</c:v>
                </c:pt>
                <c:pt idx="12">
                  <c:v>91.84341166128316</c:v>
                </c:pt>
                <c:pt idx="13">
                  <c:v>90.1961162450182</c:v>
                </c:pt>
                <c:pt idx="14">
                  <c:v>88.91752739784616</c:v>
                </c:pt>
                <c:pt idx="15">
                  <c:v>87.68688426249463</c:v>
                </c:pt>
                <c:pt idx="16">
                  <c:v>86.50059452080903</c:v>
                </c:pt>
                <c:pt idx="17">
                  <c:v>85.68780160823692</c:v>
                </c:pt>
                <c:pt idx="18">
                  <c:v>84.90758782423755</c:v>
                </c:pt>
                <c:pt idx="19">
                  <c:v>84.1570972573827</c:v>
                </c:pt>
                <c:pt idx="20">
                  <c:v>83.433848884107</c:v>
                </c:pt>
                <c:pt idx="21">
                  <c:v>82.735675993659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0</c:v>
                </c:pt>
                <c:pt idx="9">
                  <c:v>99.2783186897596</c:v>
                </c:pt>
                <c:pt idx="10">
                  <c:v>98.65088493217185</c:v>
                </c:pt>
                <c:pt idx="11">
                  <c:v>98.15506981424743</c:v>
                </c:pt>
                <c:pt idx="12">
                  <c:v>97.76673014273891</c:v>
                </c:pt>
                <c:pt idx="13">
                  <c:v>97.46698046757945</c:v>
                </c:pt>
                <c:pt idx="14">
                  <c:v>97.51731220946189</c:v>
                </c:pt>
                <c:pt idx="15">
                  <c:v>97.57976894498115</c:v>
                </c:pt>
                <c:pt idx="16">
                  <c:v>97.65261681441261</c:v>
                </c:pt>
                <c:pt idx="17">
                  <c:v>98.11410732194929</c:v>
                </c:pt>
                <c:pt idx="18">
                  <c:v>98.58717371007792</c:v>
                </c:pt>
                <c:pt idx="19">
                  <c:v>99.07003313277559</c:v>
                </c:pt>
                <c:pt idx="20">
                  <c:v>99.56116548781388</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D$2:$D$23</c:f>
              <c:numCache>
                <c:formatCode>General</c:formatCode>
                <c:ptCount val="22"/>
                <c:pt idx="0">
                  <c:v>95.31598000783049</c:v>
                </c:pt>
                <c:pt idx="1">
                  <c:v>95.37488210738569</c:v>
                </c:pt>
                <c:pt idx="2">
                  <c:v>98.47920314595304</c:v>
                </c:pt>
                <c:pt idx="3">
                  <c:v>101.49725584630723</c:v>
                </c:pt>
                <c:pt idx="4">
                  <c:v>104.43270485293668</c:v>
                </c:pt>
                <c:pt idx="5">
                  <c:v>100.64621982516935</c:v>
                </c:pt>
                <c:pt idx="6">
                  <c:v>97.96903929483301</c:v>
                </c:pt>
                <c:pt idx="7">
                  <c:v>98.89304510304954</c:v>
                </c:pt>
                <c:pt idx="8">
                  <c:v>10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E$2:$E$23</c:f>
              <c:numCache>
                <c:formatCode>General</c:formatCode>
                <c:ptCount val="22"/>
                <c:pt idx="0">
                  <c:v>0.36443359853939256</c:v>
                </c:pt>
                <c:pt idx="1">
                  <c:v>0.37598935129322186</c:v>
                </c:pt>
                <c:pt idx="2">
                  <c:v>0.3871323985915573</c:v>
                </c:pt>
                <c:pt idx="3">
                  <c:v>0.39788446177416165</c:v>
                </c:pt>
                <c:pt idx="4">
                  <c:v>0.40826576415736554</c:v>
                </c:pt>
                <c:pt idx="5">
                  <c:v>0.4182951579852068</c:v>
                </c:pt>
                <c:pt idx="6">
                  <c:v>0.42799023868545333</c:v>
                </c:pt>
                <c:pt idx="7">
                  <c:v>0.43736744788733106</c:v>
                </c:pt>
                <c:pt idx="8">
                  <c:v>0.4464421664697935</c:v>
                </c:pt>
                <c:pt idx="9">
                  <c:v>0.4552287987480508</c:v>
                </c:pt>
                <c:pt idx="10">
                  <c:v>0.4637408487676125</c:v>
                </c:pt>
                <c:pt idx="11">
                  <c:v>0.47199098955580326</c:v>
                </c:pt>
                <c:pt idx="12">
                  <c:v>0.479991126077685</c:v>
                </c:pt>
                <c:pt idx="13">
                  <c:v>0.4877524525541373</c:v>
                </c:pt>
                <c:pt idx="14">
                  <c:v>0.49528550472245875</c:v>
                </c:pt>
                <c:pt idx="15">
                  <c:v>0.5026002075525682</c:v>
                </c:pt>
                <c:pt idx="16">
                  <c:v>0.5097059188732457</c:v>
                </c:pt>
                <c:pt idx="17">
                  <c:v>0.5166114693116506</c:v>
                </c:pt>
                <c:pt idx="18">
                  <c:v>0.5233251989045445</c:v>
                </c:pt>
                <c:pt idx="19">
                  <c:v>0.5298549907003726</c:v>
                </c:pt>
                <c:pt idx="20">
                  <c:v>0.5362083016368541</c:v>
                </c:pt>
                <c:pt idx="21">
                  <c:v>0.5423921909483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0.08885018670672022</c:v>
                </c:pt>
                <c:pt idx="5">
                  <c:v>0.02229510681458848</c:v>
                </c:pt>
                <c:pt idx="6">
                  <c:v>0.021078479205629164</c:v>
                </c:pt>
                <c:pt idx="7">
                  <c:v>0.008950638610078462</c:v>
                </c:pt>
                <c:pt idx="8">
                  <c:v>0.00880104451806866</c:v>
                </c:pt>
                <c:pt idx="9">
                  <c:v>0.0073439779841587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0</c:v>
                </c:pt>
                <c:pt idx="6">
                  <c:v>96.69996434555948</c:v>
                </c:pt>
                <c:pt idx="7">
                  <c:v>93.63063952042427</c:v>
                </c:pt>
                <c:pt idx="8">
                  <c:v>90.7622099253975</c:v>
                </c:pt>
                <c:pt idx="9">
                  <c:v>88.07033086072235</c:v>
                </c:pt>
                <c:pt idx="10">
                  <c:v>87.15148625486667</c:v>
                </c:pt>
                <c:pt idx="11">
                  <c:v>86.24557065498296</c:v>
                </c:pt>
                <c:pt idx="12">
                  <c:v>85.35234873575406</c:v>
                </c:pt>
                <c:pt idx="13">
                  <c:v>84.47159006362784</c:v>
                </c:pt>
                <c:pt idx="14">
                  <c:v>83.603068997895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0</c:v>
                </c:pt>
                <c:pt idx="6">
                  <c:v>98.94569266605443</c:v>
                </c:pt>
                <c:pt idx="7">
                  <c:v>97.97955606883494</c:v>
                </c:pt>
                <c:pt idx="8">
                  <c:v>97.08577059111559</c:v>
                </c:pt>
                <c:pt idx="9">
                  <c:v>96.25172605090391</c:v>
                </c:pt>
                <c:pt idx="10">
                  <c:v>97.27103474129663</c:v>
                </c:pt>
                <c:pt idx="11">
                  <c:v>98.2623463503592</c:v>
                </c:pt>
                <c:pt idx="12">
                  <c:v>99.22629228758095</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D$2:$D$16</c:f>
              <c:numCache>
                <c:formatCode>General</c:formatCode>
                <c:ptCount val="15"/>
                <c:pt idx="0">
                  <c:v>92.94319492332099</c:v>
                </c:pt>
                <c:pt idx="1">
                  <c:v>94.11343925937284</c:v>
                </c:pt>
                <c:pt idx="2">
                  <c:v>95.43591652648546</c:v>
                </c:pt>
                <c:pt idx="3">
                  <c:v>96.87575123220309</c:v>
                </c:pt>
                <c:pt idx="4">
                  <c:v>98.40469355092733</c:v>
                </c:pt>
                <c:pt idx="5">
                  <c:v>100.0</c:v>
                </c:pt>
                <c:pt idx="6">
                  <c:v>100.7875967190339</c:v>
                </c:pt>
                <c:pt idx="7">
                  <c:v>101.54641561906092</c:v>
                </c:pt>
                <c:pt idx="8">
                  <c:v>102.27211740333668</c:v>
                </c:pt>
                <c:pt idx="9">
                  <c:v>102.96171734696455</c:v>
                </c:pt>
                <c:pt idx="10">
                  <c:v>105.57151562213521</c:v>
                </c:pt>
                <c:pt idx="11">
                  <c:v>108.1198405617396</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E$2:$E$16</c:f>
              <c:numCache>
                <c:formatCode>General</c:formatCode>
                <c:ptCount val="15"/>
                <c:pt idx="0">
                  <c:v>0.49096625027309826</c:v>
                </c:pt>
                <c:pt idx="1">
                  <c:v>0.5040183977019932</c:v>
                </c:pt>
                <c:pt idx="2">
                  <c:v>0.5164179377594433</c:v>
                </c:pt>
                <c:pt idx="3">
                  <c:v>0.5282126222043351</c:v>
                </c:pt>
                <c:pt idx="4">
                  <c:v>0.5394456550089938</c:v>
                </c:pt>
                <c:pt idx="5">
                  <c:v>0.5501562211715753</c:v>
                </c:pt>
                <c:pt idx="6">
                  <c:v>0.5603799434176757</c:v>
                </c:pt>
                <c:pt idx="7">
                  <c:v>0.5701492780083939</c:v>
                </c:pt>
                <c:pt idx="8">
                  <c:v>0.579493858921255</c:v>
                </c:pt>
                <c:pt idx="9">
                  <c:v>0.5884407980931432</c:v>
                </c:pt>
                <c:pt idx="10">
                  <c:v>0.5970149481328696</c:v>
                </c:pt>
                <c:pt idx="11">
                  <c:v>0.6052391328648518</c:v>
                </c:pt>
                <c:pt idx="12">
                  <c:v>0.6131343502075548</c:v>
                </c:pt>
                <c:pt idx="13">
                  <c:v>0.6207199511838771</c:v>
                </c:pt>
                <c:pt idx="14">
                  <c:v>0.62801379827649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B$2:$B$23</c:f>
              <c:numCache>
                <c:formatCode>General</c:formatCode>
                <c:ptCount val="22"/>
                <c:pt idx="0">
                  <c:v>155.85408320297321</c:v>
                </c:pt>
                <c:pt idx="1">
                  <c:v>149.55848971652404</c:v>
                </c:pt>
                <c:pt idx="2">
                  <c:v>147.82254080738397</c:v>
                </c:pt>
                <c:pt idx="3">
                  <c:v>146.1201889138702</c:v>
                </c:pt>
                <c:pt idx="4">
                  <c:v>144.4503099866282</c:v>
                </c:pt>
                <c:pt idx="5">
                  <c:v>122.08775267845226</c:v>
                </c:pt>
                <c:pt idx="6">
                  <c:v>103.08710422121199</c:v>
                </c:pt>
                <c:pt idx="7">
                  <c:v>101.47340677541177</c:v>
                </c:pt>
                <c:pt idx="8">
                  <c:v>100.0</c:v>
                </c:pt>
                <c:pt idx="9">
                  <c:v>98.64148729652123</c:v>
                </c:pt>
                <c:pt idx="10">
                  <c:v>92.0816780920426</c:v>
                </c:pt>
                <c:pt idx="11">
                  <c:v>86.30006768374095</c:v>
                </c:pt>
                <c:pt idx="12">
                  <c:v>81.21215661395635</c:v>
                </c:pt>
                <c:pt idx="13">
                  <c:v>76.72564782439558</c:v>
                </c:pt>
                <c:pt idx="14">
                  <c:v>74.80787167156404</c:v>
                </c:pt>
                <c:pt idx="15">
                  <c:v>72.97103481813083</c:v>
                </c:pt>
                <c:pt idx="16">
                  <c:v>71.21032262161496</c:v>
                </c:pt>
                <c:pt idx="17">
                  <c:v>68.5587935784002</c:v>
                </c:pt>
                <c:pt idx="18">
                  <c:v>66.11934776355879</c:v>
                </c:pt>
                <c:pt idx="19">
                  <c:v>63.87079316603018</c:v>
                </c:pt>
                <c:pt idx="20">
                  <c:v>61.79353117591485</c:v>
                </c:pt>
                <c:pt idx="21">
                  <c:v>59.86964034772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C$2:$C$23</c:f>
              <c:numCache>
                <c:formatCode>General</c:formatCode>
                <c:ptCount val="22"/>
                <c:pt idx="0">
                  <c:v>136.61802028503436</c:v>
                </c:pt>
                <c:pt idx="1">
                  <c:v>133.4300053001294</c:v>
                </c:pt>
                <c:pt idx="2">
                  <c:v>134.2216623265008</c:v>
                </c:pt>
                <c:pt idx="3">
                  <c:v>134.98858648261046</c:v>
                </c:pt>
                <c:pt idx="4">
                  <c:v>135.73137261575926</c:v>
                </c:pt>
                <c:pt idx="5">
                  <c:v>116.45187397758458</c:v>
                </c:pt>
                <c:pt idx="6">
                  <c:v>99.82277368156444</c:v>
                </c:pt>
                <c:pt idx="7">
                  <c:v>99.86656683063654</c:v>
                </c:pt>
                <c:pt idx="8">
                  <c:v>100.0</c:v>
                </c:pt>
                <c:pt idx="9">
                  <c:v>100.20377182752887</c:v>
                </c:pt>
                <c:pt idx="10">
                  <c:v>94.97545210119786</c:v>
                </c:pt>
                <c:pt idx="11">
                  <c:v>90.3606447103095</c:v>
                </c:pt>
                <c:pt idx="12">
                  <c:v>86.30500742649248</c:v>
                </c:pt>
                <c:pt idx="13">
                  <c:v>82.74074627846518</c:v>
                </c:pt>
                <c:pt idx="14">
                  <c:v>81.854496122446</c:v>
                </c:pt>
                <c:pt idx="15">
                  <c:v>80.9977623556743</c:v>
                </c:pt>
                <c:pt idx="16">
                  <c:v>80.16892816686044</c:v>
                </c:pt>
                <c:pt idx="17">
                  <c:v>78.26609283737285</c:v>
                </c:pt>
                <c:pt idx="18">
                  <c:v>76.52570221344168</c:v>
                </c:pt>
                <c:pt idx="19">
                  <c:v>74.93279233334482</c:v>
                </c:pt>
                <c:pt idx="20">
                  <c:v>73.47298351836442</c:v>
                </c:pt>
                <c:pt idx="21">
                  <c:v>72.132701987976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c:v>
                </c:pt>
                <c:pt idx="5">
                  <c:v>113.0041429481283</c:v>
                </c:pt>
                <c:pt idx="6">
                  <c:v>97.97382571220939</c:v>
                </c:pt>
                <c:pt idx="7">
                  <c:v>98.9567884553037</c:v>
                </c:pt>
                <c:pt idx="8">
                  <c:v>100.0</c:v>
                </c:pt>
                <c:pt idx="9">
                  <c:v>101.08787184141552</c:v>
                </c:pt>
                <c:pt idx="10">
                  <c:v>96.64907058228634</c:v>
                </c:pt>
                <c:pt idx="11">
                  <c:v>92.72099130090585</c:v>
                </c:pt>
                <c:pt idx="12">
                  <c:v>89.2686517152796</c:v>
                </c:pt>
                <c:pt idx="13">
                  <c:v>86.2399224049463</c:v>
                </c:pt>
                <c:pt idx="14">
                  <c:v>85.93962725085375</c:v>
                </c:pt>
                <c:pt idx="15">
                  <c:v>85.63919825398554</c:v>
                </c:pt>
                <c:pt idx="16">
                  <c:v>85.33888758737032</c:v>
                </c:pt>
                <c:pt idx="17">
                  <c:v>83.8615895784599</c:v>
                </c:pt>
                <c:pt idx="18">
                  <c:v>82.51745315718703</c:v>
                </c:pt>
                <c:pt idx="19">
                  <c:v>81.29528443327888</c:v>
                </c:pt>
                <c:pt idx="20">
                  <c:v>80.18385481595972</c:v>
                </c:pt>
                <c:pt idx="21">
                  <c:v>79.172209371168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E$2:$E$23</c:f>
              <c:numCache>
                <c:formatCode>General</c:formatCode>
                <c:ptCount val="22"/>
                <c:pt idx="0">
                  <c:v>0.5985432144208519</c:v>
                </c:pt>
                <c:pt idx="1">
                  <c:v>0.6058424287041091</c:v>
                </c:pt>
                <c:pt idx="2">
                  <c:v>0.6128809567629643</c:v>
                </c:pt>
                <c:pt idx="3">
                  <c:v>0.6196725189250175</c:v>
                </c:pt>
                <c:pt idx="4">
                  <c:v>0.6262298892883792</c:v>
                </c:pt>
                <c:pt idx="5">
                  <c:v>0.6325649759106101</c:v>
                </c:pt>
                <c:pt idx="6">
                  <c:v>0.6386888929787665</c:v>
                </c:pt>
                <c:pt idx="7">
                  <c:v>0.644612025880754</c:v>
                </c:pt>
                <c:pt idx="8">
                  <c:v>0.6503440899794515</c:v>
                </c:pt>
                <c:pt idx="9">
                  <c:v>0.6558941837893015</c:v>
                </c:pt>
                <c:pt idx="10">
                  <c:v>0.6612708371675937</c:v>
                </c:pt>
                <c:pt idx="11">
                  <c:v>0.666482055057323</c:v>
                </c:pt>
                <c:pt idx="12">
                  <c:v>0.6715353572534242</c:v>
                </c:pt>
                <c:pt idx="13">
                  <c:v>0.6764378146078506</c:v>
                </c:pt>
                <c:pt idx="14">
                  <c:v>0.6811960820400881</c:v>
                </c:pt>
                <c:pt idx="15">
                  <c:v>0.6858164286771883</c:v>
                </c:pt>
                <c:pt idx="16">
                  <c:v>0.6903047654103714</c:v>
                </c:pt>
                <c:pt idx="17">
                  <c:v>0.6946666701229014</c:v>
                </c:pt>
                <c:pt idx="18">
                  <c:v>0.6989074108156389</c:v>
                </c:pt>
                <c:pt idx="19">
                  <c:v>0.703031966831863</c:v>
                </c:pt>
                <c:pt idx="20">
                  <c:v>0.7070450483611621</c:v>
                </c:pt>
                <c:pt idx="21">
                  <c:v>0.71095111438301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0</c:v>
                </c:pt>
                <c:pt idx="12">
                  <c:v>97.4319316019387</c:v>
                </c:pt>
                <c:pt idx="13">
                  <c:v>95.01443054911428</c:v>
                </c:pt>
                <c:pt idx="14">
                  <c:v>92.73298351551604</c:v>
                </c:pt>
                <c:pt idx="15">
                  <c:v>88.95427613890645</c:v>
                </c:pt>
                <c:pt idx="16">
                  <c:v>85.3941850822326</c:v>
                </c:pt>
                <c:pt idx="17">
                  <c:v>82.03945610091785</c:v>
                </c:pt>
                <c:pt idx="18">
                  <c:v>78.87751251703442</c:v>
                </c:pt>
                <c:pt idx="19">
                  <c:v>75.89641348931839</c:v>
                </c:pt>
                <c:pt idx="20">
                  <c:v>73.08481418022188</c:v>
                </c:pt>
                <c:pt idx="21">
                  <c:v>70.43193476026192</c:v>
                </c:pt>
                <c:pt idx="22">
                  <c:v>67.92754003981445</c:v>
                </c:pt>
                <c:pt idx="23">
                  <c:v>65.561928154973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C$2:$C$25</c:f>
              <c:numCache>
                <c:formatCode>General</c:formatCode>
                <c:ptCount val="24"/>
                <c:pt idx="0">
                  <c:v>128.6843474866943</c:v>
                </c:pt>
                <c:pt idx="1">
                  <c:v>122.87043473407732</c:v>
                </c:pt>
                <c:pt idx="2">
                  <c:v>117.7214601941292</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0</c:v>
                </c:pt>
                <c:pt idx="12">
                  <c:v>98.72147281378088</c:v>
                </c:pt>
                <c:pt idx="13">
                  <c:v>97.5300940208809</c:v>
                </c:pt>
                <c:pt idx="14">
                  <c:v>96.41665514578574</c:v>
                </c:pt>
                <c:pt idx="15">
                  <c:v>93.65206794776195</c:v>
                </c:pt>
                <c:pt idx="16">
                  <c:v>91.02286115961373</c:v>
                </c:pt>
                <c:pt idx="17">
                  <c:v>88.52309549495867</c:v>
                </c:pt>
                <c:pt idx="18">
                  <c:v>86.14690960338098</c:v>
                </c:pt>
                <c:pt idx="19">
                  <c:v>83.88851409019449</c:v>
                </c:pt>
                <c:pt idx="20">
                  <c:v>81.74218482737746</c:v>
                </c:pt>
                <c:pt idx="21">
                  <c:v>79.7022636021133</c:v>
                </c:pt>
                <c:pt idx="22">
                  <c:v>77.76316893408975</c:v>
                </c:pt>
                <c:pt idx="23">
                  <c:v>75.919416164492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D$2:$D$25</c:f>
              <c:numCache>
                <c:formatCode>General</c:formatCode>
                <c:ptCount val="24"/>
                <c:pt idx="0">
                  <c:v>109.6749915141225</c:v>
                </c:pt>
                <c:pt idx="1">
                  <c:v>106.6435209516208</c:v>
                </c:pt>
                <c:pt idx="2">
                  <c:v>103.95842898391103</c:v>
                </c:pt>
                <c:pt idx="3">
                  <c:v>101.61085704339553</c:v>
                </c:pt>
                <c:pt idx="4">
                  <c:v>99.57507692978547</c:v>
                </c:pt>
                <c:pt idx="5">
                  <c:v>100.10189050829459</c:v>
                </c:pt>
                <c:pt idx="6">
                  <c:v>100.60545454186816</c:v>
                </c:pt>
                <c:pt idx="7">
                  <c:v>101.08737609568806</c:v>
                </c:pt>
                <c:pt idx="8">
                  <c:v>100.74347953187836</c:v>
                </c:pt>
                <c:pt idx="9">
                  <c:v>100.45089656299437</c:v>
                </c:pt>
                <c:pt idx="10">
                  <c:v>100.20477021119672</c:v>
                </c:pt>
                <c:pt idx="11">
                  <c:v>100.0</c:v>
                </c:pt>
                <c:pt idx="12">
                  <c:v>99.83153276471329</c:v>
                </c:pt>
                <c:pt idx="13">
                  <c:v>99.6945540831012</c:v>
                </c:pt>
                <c:pt idx="14">
                  <c:v>99.58460304351166</c:v>
                </c:pt>
                <c:pt idx="15">
                  <c:v>97.7175134450811</c:v>
                </c:pt>
                <c:pt idx="16">
                  <c:v>95.90983341478795</c:v>
                </c:pt>
                <c:pt idx="17">
                  <c:v>94.16250268429727</c:v>
                </c:pt>
                <c:pt idx="18">
                  <c:v>92.47594963600184</c:v>
                </c:pt>
                <c:pt idx="19">
                  <c:v>90.8501247882754</c:v>
                </c:pt>
                <c:pt idx="20">
                  <c:v>89.28453043177592</c:v>
                </c:pt>
                <c:pt idx="21">
                  <c:v>87.77825539338649</c:v>
                </c:pt>
                <c:pt idx="22">
                  <c:v>86.33001872646142</c:v>
                </c:pt>
                <c:pt idx="23">
                  <c:v>84.9382221211644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E$2:$E$25</c:f>
              <c:numCache>
                <c:formatCode>General</c:formatCode>
                <c:ptCount val="24"/>
                <c:pt idx="0">
                  <c:v>0.4698950115320375</c:v>
                </c:pt>
                <c:pt idx="1">
                  <c:v>0.4781779019768495</c:v>
                </c:pt>
                <c:pt idx="2">
                  <c:v>0.4862059342541288</c:v>
                </c:pt>
                <c:pt idx="3">
                  <c:v>0.4939906928260358</c:v>
                </c:pt>
                <c:pt idx="4">
                  <c:v>0.5015430705450501</c:v>
                </c:pt>
                <c:pt idx="5">
                  <c:v>0.5088733195076228</c:v>
                </c:pt>
                <c:pt idx="6">
                  <c:v>0.5159910974857733</c:v>
                </c:pt>
                <c:pt idx="7">
                  <c:v>0.5229055103788338</c:v>
                </c:pt>
                <c:pt idx="8">
                  <c:v>0.5296251510777235</c:v>
                </c:pt>
                <c:pt idx="9">
                  <c:v>0.536158135090533</c:v>
                </c:pt>
                <c:pt idx="10">
                  <c:v>0.5425121332399776</c:v>
                </c:pt>
                <c:pt idx="11">
                  <c:v>0.5486944017097076</c:v>
                </c:pt>
                <c:pt idx="12">
                  <c:v>0.5547118096869115</c:v>
                </c:pt>
                <c:pt idx="13">
                  <c:v>0.56057086482261</c:v>
                </c:pt>
                <c:pt idx="14">
                  <c:v>0.5662777367080308</c:v>
                </c:pt>
                <c:pt idx="15">
                  <c:v>0.5718382785451074</c:v>
                </c:pt>
                <c:pt idx="16">
                  <c:v>0.5772580471711187</c:v>
                </c:pt>
                <c:pt idx="17">
                  <c:v>0.5825423215814796</c:v>
                </c:pt>
                <c:pt idx="18">
                  <c:v>0.5876961200804736</c:v>
                </c:pt>
                <c:pt idx="19">
                  <c:v>0.5927242161770533</c:v>
                </c:pt>
                <c:pt idx="20">
                  <c:v>0.5976311533315466</c:v>
                </c:pt>
                <c:pt idx="21">
                  <c:v>0.6024212586490283</c:v>
                </c:pt>
                <c:pt idx="22">
                  <c:v>0.6070986556060983</c:v>
                </c:pt>
                <c:pt idx="23">
                  <c:v>0.6116672758897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0</c:v>
                </c:pt>
                <c:pt idx="10">
                  <c:v>98.12310589925484</c:v>
                </c:pt>
                <c:pt idx="11">
                  <c:v>96.32967141108271</c:v>
                </c:pt>
                <c:pt idx="12">
                  <c:v>94.61329955327712</c:v>
                </c:pt>
                <c:pt idx="13">
                  <c:v>92.69189873821556</c:v>
                </c:pt>
                <c:pt idx="14">
                  <c:v>90.89733144432608</c:v>
                </c:pt>
                <c:pt idx="15">
                  <c:v>89.21514434150423</c:v>
                </c:pt>
                <c:pt idx="16">
                  <c:v>87.63301298669708</c:v>
                </c:pt>
                <c:pt idx="17">
                  <c:v>86.1403872917246</c:v>
                </c:pt>
                <c:pt idx="18">
                  <c:v>84.72819907068833</c:v>
                </c:pt>
                <c:pt idx="19">
                  <c:v>83.38862089210284</c:v>
                </c:pt>
                <c:pt idx="20">
                  <c:v>81.49289846593419</c:v>
                </c:pt>
                <c:pt idx="21">
                  <c:v>79.699589088873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0</c:v>
                </c:pt>
                <c:pt idx="10">
                  <c:v>99.58182432585318</c:v>
                </c:pt>
                <c:pt idx="11">
                  <c:v>99.19379242122358</c:v>
                </c:pt>
                <c:pt idx="12">
                  <c:v>98.8329418793032</c:v>
                </c:pt>
                <c:pt idx="13">
                  <c:v>98.2045554791937</c:v>
                </c:pt>
                <c:pt idx="14">
                  <c:v>97.65526042124455</c:v>
                </c:pt>
                <c:pt idx="15">
                  <c:v>97.17497253262385</c:v>
                </c:pt>
                <c:pt idx="16">
                  <c:v>96.75509861716158</c:v>
                </c:pt>
                <c:pt idx="17">
                  <c:v>96.38829794935762</c:v>
                </c:pt>
                <c:pt idx="18">
                  <c:v>96.06828255244004</c:v>
                </c:pt>
                <c:pt idx="19">
                  <c:v>95.7896503364428</c:v>
                </c:pt>
                <c:pt idx="20">
                  <c:v>94.8231094496716</c:v>
                </c:pt>
                <c:pt idx="21">
                  <c:v>93.920964634449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6462178074675894</c:v>
                </c:pt>
                <c:pt idx="1">
                  <c:v>0.6522141158155964</c:v>
                </c:pt>
                <c:pt idx="2">
                  <c:v>0.6580105472186697</c:v>
                </c:pt>
                <c:pt idx="3">
                  <c:v>0.6636169316904948</c:v>
                </c:pt>
                <c:pt idx="4">
                  <c:v>0.6690424650503255</c:v>
                </c:pt>
                <c:pt idx="5">
                  <c:v>0.6742957592558758</c:v>
                </c:pt>
                <c:pt idx="6">
                  <c:v>0.6793848880175029</c:v>
                </c:pt>
                <c:pt idx="7">
                  <c:v>0.684317428201849</c:v>
                </c:pt>
                <c:pt idx="8">
                  <c:v>0.6891004974715179</c:v>
                </c:pt>
                <c:pt idx="9">
                  <c:v>0.6937407885540324</c:v>
                </c:pt>
                <c:pt idx="10">
                  <c:v>0.6982446004870615</c:v>
                </c:pt>
                <c:pt idx="11">
                  <c:v>0.7026178671466693</c:v>
                </c:pt>
                <c:pt idx="12">
                  <c:v>0.7068661833302884</c:v>
                </c:pt>
                <c:pt idx="13">
                  <c:v>0.7109948286354955</c:v>
                </c:pt>
                <c:pt idx="14">
                  <c:v>0.7150087893488914</c:v>
                </c:pt>
                <c:pt idx="15">
                  <c:v>0.7189127785358931</c:v>
                </c:pt>
                <c:pt idx="16">
                  <c:v>0.7227112545016241</c:v>
                </c:pt>
                <c:pt idx="17">
                  <c:v>0.7264084377749356</c:v>
                </c:pt>
                <c:pt idx="18">
                  <c:v>0.7300083267515814</c:v>
                </c:pt>
                <c:pt idx="19">
                  <c:v>0.733514712118444</c:v>
                </c:pt>
                <c:pt idx="20">
                  <c:v>0.7369311901682075</c:v>
                </c:pt>
                <c:pt idx="21">
                  <c:v>0.74026117510278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0</c:v>
                </c:pt>
                <c:pt idx="12">
                  <c:v>98.85976992750625</c:v>
                </c:pt>
                <c:pt idx="13">
                  <c:v>97.7680419490269</c:v>
                </c:pt>
                <c:pt idx="14">
                  <c:v>96.72122470803025</c:v>
                </c:pt>
                <c:pt idx="15">
                  <c:v>95.71608058179214</c:v>
                </c:pt>
                <c:pt idx="16">
                  <c:v>94.74968372691526</c:v>
                </c:pt>
                <c:pt idx="17">
                  <c:v>93.81938383011621</c:v>
                </c:pt>
                <c:pt idx="18">
                  <c:v>92.9227747010677</c:v>
                </c:pt>
                <c:pt idx="19">
                  <c:v>92.0576669857999</c:v>
                </c:pt>
                <c:pt idx="20">
                  <c:v>91.2220643963603</c:v>
                </c:pt>
                <c:pt idx="21">
                  <c:v>90.20671855729205</c:v>
                </c:pt>
                <c:pt idx="22">
                  <c:v>89.20776469241709</c:v>
                </c:pt>
                <c:pt idx="23">
                  <c:v>88.22483137220944</c:v>
                </c:pt>
                <c:pt idx="24">
                  <c:v>87.25756023242589</c:v>
                </c:pt>
                <c:pt idx="25">
                  <c:v>86.3056052686578</c:v>
                </c:pt>
                <c:pt idx="26">
                  <c:v>85.36863217999412</c:v>
                </c:pt>
                <c:pt idx="27">
                  <c:v>84.44631775779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96.37652679186147</c:v>
                </c:pt>
                <c:pt idx="1">
                  <c:v>96.2827269999737</c:v>
                </c:pt>
                <c:pt idx="2">
                  <c:v>96.65649616146213</c:v>
                </c:pt>
                <c:pt idx="3">
                  <c:v>97.0348989929667</c:v>
                </c:pt>
                <c:pt idx="4">
                  <c:v>97.41693888533479</c:v>
                </c:pt>
                <c:pt idx="5">
                  <c:v>97.72208199544387</c:v>
                </c:pt>
                <c:pt idx="6">
                  <c:v>98.05382722710306</c:v>
                </c:pt>
                <c:pt idx="7">
                  <c:v>98.40849720887455</c:v>
                </c:pt>
                <c:pt idx="8">
                  <c:v>98.78295200979522</c:v>
                </c:pt>
                <c:pt idx="9">
                  <c:v>99.17450423153707</c:v>
                </c:pt>
                <c:pt idx="10">
                  <c:v>99.58084806367802</c:v>
                </c:pt>
                <c:pt idx="11">
                  <c:v>10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6</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90.13115504281504</c:v>
                </c:pt>
                <c:pt idx="1">
                  <c:v>90.69369158315457</c:v>
                </c:pt>
                <c:pt idx="2">
                  <c:v>91.68076861500276</c:v>
                </c:pt>
                <c:pt idx="3">
                  <c:v>92.65904954655998</c:v>
                </c:pt>
                <c:pt idx="4">
                  <c:v>93.62822775469449</c:v>
                </c:pt>
                <c:pt idx="5">
                  <c:v>94.50943865797396</c:v>
                </c:pt>
                <c:pt idx="6">
                  <c:v>95.4041160435039</c:v>
                </c:pt>
                <c:pt idx="7">
                  <c:v>96.3096278795314</c:v>
                </c:pt>
                <c:pt idx="8">
                  <c:v>97.2237372614852</c:v>
                </c:pt>
                <c:pt idx="9">
                  <c:v>98.14454180643658</c:v>
                </c:pt>
                <c:pt idx="10">
                  <c:v>99.07042241353172</c:v>
                </c:pt>
                <c:pt idx="11">
                  <c:v>10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6787760141377235</c:v>
                </c:pt>
                <c:pt idx="1">
                  <c:v>0.6835704019864142</c:v>
                </c:pt>
                <c:pt idx="2">
                  <c:v>0.6882237784277904</c:v>
                </c:pt>
                <c:pt idx="3">
                  <c:v>0.6927422743926052</c:v>
                </c:pt>
                <c:pt idx="4">
                  <c:v>0.6971316704727109</c:v>
                </c:pt>
                <c:pt idx="5">
                  <c:v>0.7013974215928135</c:v>
                </c:pt>
                <c:pt idx="6">
                  <c:v>0.7055446796262465</c:v>
                </c:pt>
                <c:pt idx="7">
                  <c:v>0.7095783141519144</c:v>
                </c:pt>
                <c:pt idx="8">
                  <c:v>0.7135029315282401</c:v>
                </c:pt>
                <c:pt idx="9">
                  <c:v>0.7173228924411968</c:v>
                </c:pt>
                <c:pt idx="10">
                  <c:v>0.7210423280669704</c:v>
                </c:pt>
                <c:pt idx="11">
                  <c:v>0.7246651549751917</c:v>
                </c:pt>
                <c:pt idx="12">
                  <c:v>0.728195088885766</c:v>
                </c:pt>
                <c:pt idx="13">
                  <c:v>0.731635657380883</c:v>
                </c:pt>
                <c:pt idx="14">
                  <c:v>0.734990211663622</c:v>
                </c:pt>
                <c:pt idx="15">
                  <c:v>0.7382619374455526</c:v>
                </c:pt>
                <c:pt idx="16">
                  <c:v>0.74145386503768</c:v>
                </c:pt>
                <c:pt idx="17">
                  <c:v>0.7445688787119247</c:v>
                </c:pt>
                <c:pt idx="18">
                  <c:v>0.7476097253939257</c:v>
                </c:pt>
                <c:pt idx="19">
                  <c:v>0.7505790227422323</c:v>
                </c:pt>
                <c:pt idx="20">
                  <c:v>0.7534792666638342</c:v>
                </c:pt>
                <c:pt idx="21">
                  <c:v>0.7563128383113764</c:v>
                </c:pt>
                <c:pt idx="22">
                  <c:v>0.7590820106032926</c:v>
                </c:pt>
                <c:pt idx="23">
                  <c:v>0.7617889543043793</c:v>
                </c:pt>
                <c:pt idx="24">
                  <c:v>0.7644357437009973</c:v>
                </c:pt>
                <c:pt idx="25">
                  <c:v>0.7670243619020851</c:v>
                </c:pt>
                <c:pt idx="26">
                  <c:v>0.7695567057944539</c:v>
                </c:pt>
                <c:pt idx="27">
                  <c:v>0.77203459067838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7</c:v>
                </c:pt>
                <c:pt idx="5">
                  <c:v>101.23152437424238</c:v>
                </c:pt>
                <c:pt idx="6">
                  <c:v>100.0</c:v>
                </c:pt>
                <c:pt idx="7">
                  <c:v>97.23012383695063</c:v>
                </c:pt>
                <c:pt idx="8">
                  <c:v>94.76846148647469</c:v>
                </c:pt>
                <c:pt idx="9">
                  <c:v>92.94768374276823</c:v>
                </c:pt>
                <c:pt idx="10">
                  <c:v>91.30859860055344</c:v>
                </c:pt>
                <c:pt idx="11">
                  <c:v>89.81141474645175</c:v>
                </c:pt>
                <c:pt idx="12">
                  <c:v>88.87304232212236</c:v>
                </c:pt>
                <c:pt idx="13">
                  <c:v>87.98684305280833</c:v>
                </c:pt>
                <c:pt idx="14">
                  <c:v>87.14617672791172</c:v>
                </c:pt>
                <c:pt idx="15">
                  <c:v>86.34559692025307</c:v>
                </c:pt>
                <c:pt idx="16">
                  <c:v>85.52413147924003</c:v>
                </c:pt>
                <c:pt idx="17">
                  <c:v>84.72344086569254</c:v>
                </c:pt>
                <c:pt idx="18">
                  <c:v>83.94225277886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C$2:$C$20</c:f>
              <c:numCache>
                <c:formatCode>General</c:formatCode>
                <c:ptCount val="19"/>
                <c:pt idx="0">
                  <c:v>103.05809665207354</c:v>
                </c:pt>
                <c:pt idx="1">
                  <c:v>101.093240189857</c:v>
                </c:pt>
                <c:pt idx="2">
                  <c:v>99.59673560739448</c:v>
                </c:pt>
                <c:pt idx="3">
                  <c:v>98.43330976985936</c:v>
                </c:pt>
                <c:pt idx="4">
                  <c:v>98.96926736452556</c:v>
                </c:pt>
                <c:pt idx="5">
                  <c:v>99.49145749216298</c:v>
                </c:pt>
                <c:pt idx="6">
                  <c:v>100.0</c:v>
                </c:pt>
                <c:pt idx="7">
                  <c:v>98.90700731662034</c:v>
                </c:pt>
                <c:pt idx="8">
                  <c:v>98.03664062610157</c:v>
                </c:pt>
                <c:pt idx="9">
                  <c:v>97.75339819595123</c:v>
                </c:pt>
                <c:pt idx="10">
                  <c:v>97.60119405637896</c:v>
                </c:pt>
                <c:pt idx="11">
                  <c:v>97.54632173327892</c:v>
                </c:pt>
                <c:pt idx="12">
                  <c:v>98.05488239479821</c:v>
                </c:pt>
                <c:pt idx="13">
                  <c:v>98.58943349581757</c:v>
                </c:pt>
                <c:pt idx="14">
                  <c:v>99.1451325366297</c:v>
                </c:pt>
                <c:pt idx="15">
                  <c:v>99.71805535195003</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D$2:$D$20</c:f>
              <c:numCache>
                <c:formatCode>General</c:formatCode>
                <c:ptCount val="19"/>
                <c:pt idx="0">
                  <c:v>94.4795507493522</c:v>
                </c:pt>
                <c:pt idx="1">
                  <c:v>94.20778515219547</c:v>
                </c:pt>
                <c:pt idx="2">
                  <c:v>94.26568772864097</c:v>
                </c:pt>
                <c:pt idx="3">
                  <c:v>94.54885378985797</c:v>
                </c:pt>
                <c:pt idx="4">
                  <c:v>96.4118158329577</c:v>
                </c:pt>
                <c:pt idx="5">
                  <c:v>98.22843655719088</c:v>
                </c:pt>
                <c:pt idx="6">
                  <c:v>10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9</c:v>
                </c:pt>
                <c:pt idx="17">
                  <c:v>112.370473558397</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E$2:$E$20</c:f>
              <c:numCache>
                <c:formatCode>General</c:formatCode>
                <c:ptCount val="19"/>
                <c:pt idx="0">
                  <c:v>0.5328681839728676</c:v>
                </c:pt>
                <c:pt idx="1">
                  <c:v>0.541681991822436</c:v>
                </c:pt>
                <c:pt idx="2">
                  <c:v>0.5501693623442427</c:v>
                </c:pt>
                <c:pt idx="3">
                  <c:v>0.5583481012107109</c:v>
                </c:pt>
                <c:pt idx="4">
                  <c:v>0.5662347422605197</c:v>
                </c:pt>
                <c:pt idx="5">
                  <c:v>0.5738446590629669</c:v>
                </c:pt>
                <c:pt idx="6">
                  <c:v>0.5811921649411914</c:v>
                </c:pt>
                <c:pt idx="7">
                  <c:v>0.5882906028235442</c:v>
                </c:pt>
                <c:pt idx="8">
                  <c:v>0.5951524261098182</c:v>
                </c:pt>
                <c:pt idx="9">
                  <c:v>0.601789271583428</c:v>
                </c:pt>
                <c:pt idx="10">
                  <c:v>0.6082120252675663</c:v>
                </c:pt>
                <c:pt idx="11">
                  <c:v>0.6144308820093509</c:v>
                </c:pt>
                <c:pt idx="12">
                  <c:v>0.6204553994779548</c:v>
                </c:pt>
                <c:pt idx="13">
                  <c:v>0.626294547178294</c:v>
                </c:pt>
                <c:pt idx="14">
                  <c:v>0.6319567510089258</c:v>
                </c:pt>
                <c:pt idx="15">
                  <c:v>0.6374499338296883</c:v>
                </c:pt>
                <c:pt idx="16">
                  <c:v>0.6427815524498397</c:v>
                </c:pt>
                <c:pt idx="17">
                  <c:v>0.6479586313998422</c:v>
                </c:pt>
                <c:pt idx="18">
                  <c:v>0.65298779380841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B$2:$B$27</c:f>
              <c:numCache>
                <c:formatCode>General</c:formatCode>
                <c:ptCount val="26"/>
                <c:pt idx="0">
                  <c:v>174.62718774400625</c:v>
                </c:pt>
                <c:pt idx="1">
                  <c:v>150.62520181802907</c:v>
                </c:pt>
                <c:pt idx="2">
                  <c:v>133.04098601084854</c:v>
                </c:pt>
                <c:pt idx="3">
                  <c:v>129.2842558216825</c:v>
                </c:pt>
                <c:pt idx="4">
                  <c:v>126.09206556389108</c:v>
                </c:pt>
                <c:pt idx="5">
                  <c:v>123.3210878116604</c:v>
                </c:pt>
                <c:pt idx="6">
                  <c:v>117.49693364877372</c:v>
                </c:pt>
                <c:pt idx="7">
                  <c:v>112.48457918785955</c:v>
                </c:pt>
                <c:pt idx="8">
                  <c:v>108.11363120496893</c:v>
                </c:pt>
                <c:pt idx="9">
                  <c:v>104.25667287067355</c:v>
                </c:pt>
                <c:pt idx="10">
                  <c:v>102.07535970895852</c:v>
                </c:pt>
                <c:pt idx="11">
                  <c:v>100.0</c:v>
                </c:pt>
                <c:pt idx="12">
                  <c:v>98.02186448346332</c:v>
                </c:pt>
                <c:pt idx="13">
                  <c:v>95.88315253270618</c:v>
                </c:pt>
                <c:pt idx="14">
                  <c:v>93.89229691718319</c:v>
                </c:pt>
                <c:pt idx="15">
                  <c:v>92.03245160376281</c:v>
                </c:pt>
                <c:pt idx="16">
                  <c:v>90.2892626811983</c:v>
                </c:pt>
                <c:pt idx="17">
                  <c:v>88.65043954924076</c:v>
                </c:pt>
                <c:pt idx="18">
                  <c:v>87.10540613948699</c:v>
                </c:pt>
                <c:pt idx="19">
                  <c:v>85.64501681109579</c:v>
                </c:pt>
                <c:pt idx="20">
                  <c:v>83.00793470475544</c:v>
                </c:pt>
                <c:pt idx="21">
                  <c:v>80.54213484786766</c:v>
                </c:pt>
                <c:pt idx="22">
                  <c:v>78.23167261433193</c:v>
                </c:pt>
                <c:pt idx="23">
                  <c:v>76.06241825697194</c:v>
                </c:pt>
                <c:pt idx="24">
                  <c:v>74.02182013194819</c:v>
                </c:pt>
                <c:pt idx="25">
                  <c:v>72.098702082034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0</c:v>
                </c:pt>
                <c:pt idx="12">
                  <c:v>99.43784194892362</c:v>
                </c:pt>
                <c:pt idx="13">
                  <c:v>98.6541518716663</c:v>
                </c:pt>
                <c:pt idx="14">
                  <c:v>97.96289687755045</c:v>
                </c:pt>
                <c:pt idx="15">
                  <c:v>97.35266664342369</c:v>
                </c:pt>
                <c:pt idx="16">
                  <c:v>96.81374956041007</c:v>
                </c:pt>
                <c:pt idx="17">
                  <c:v>96.33784672339569</c:v>
                </c:pt>
                <c:pt idx="18">
                  <c:v>95.91783689416053</c:v>
                </c:pt>
                <c:pt idx="19">
                  <c:v>95.54758339335156</c:v>
                </c:pt>
                <c:pt idx="20">
                  <c:v>93.80409048042307</c:v>
                </c:pt>
                <c:pt idx="21">
                  <c:v>92.180583489499</c:v>
                </c:pt>
                <c:pt idx="22">
                  <c:v>90.66598414867696</c:v>
                </c:pt>
                <c:pt idx="23">
                  <c:v>89.25042618475493</c:v>
                </c:pt>
                <c:pt idx="24">
                  <c:v>87.92510445932813</c:v>
                </c:pt>
                <c:pt idx="25">
                  <c:v>86.682144791299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c:v>
                </c:pt>
                <c:pt idx="10">
                  <c:v>99.7267847025567</c:v>
                </c:pt>
                <c:pt idx="11">
                  <c:v>10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c:v>
                </c:pt>
                <c:pt idx="22">
                  <c:v>98.03138203376322</c:v>
                </c:pt>
                <c:pt idx="23">
                  <c:v>97.06317240028064</c:v>
                </c:pt>
                <c:pt idx="24">
                  <c:v>96.16227952799832</c:v>
                </c:pt>
                <c:pt idx="25">
                  <c:v>95.322807709616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E$2:$E$27</c:f>
              <c:numCache>
                <c:formatCode>General</c:formatCode>
                <c:ptCount val="26"/>
                <c:pt idx="0">
                  <c:v>0.5597013481081514</c:v>
                </c:pt>
                <c:pt idx="1">
                  <c:v>0.5671640371232674</c:v>
                </c:pt>
                <c:pt idx="2">
                  <c:v>0.5743779698378797</c:v>
                </c:pt>
                <c:pt idx="3">
                  <c:v>0.5813553801684064</c:v>
                </c:pt>
                <c:pt idx="4">
                  <c:v>0.5881077127463351</c:v>
                </c:pt>
                <c:pt idx="5">
                  <c:v>0.5946456855598854</c:v>
                </c:pt>
                <c:pt idx="6">
                  <c:v>0.6009793467230123</c:v>
                </c:pt>
                <c:pt idx="7">
                  <c:v>0.6071181260041966</c:v>
                </c:pt>
                <c:pt idx="8">
                  <c:v>0.6130708816707997</c:v>
                </c:pt>
                <c:pt idx="9">
                  <c:v>0.6188459431383997</c:v>
                </c:pt>
                <c:pt idx="10">
                  <c:v>0.6244511498569526</c:v>
                </c:pt>
                <c:pt idx="11">
                  <c:v>0.6298938868155476</c:v>
                </c:pt>
                <c:pt idx="12">
                  <c:v>0.6351811170038968</c:v>
                </c:pt>
                <c:pt idx="13">
                  <c:v>0.6403194111306026</c:v>
                </c:pt>
                <c:pt idx="14">
                  <c:v>0.6453149748648997</c:v>
                </c:pt>
                <c:pt idx="15">
                  <c:v>0.650173673839353</c:v>
                </c:pt>
                <c:pt idx="16">
                  <c:v>0.6549010566253077</c:v>
                </c:pt>
                <c:pt idx="17">
                  <c:v>0.6595023758703036</c:v>
                </c:pt>
                <c:pt idx="18">
                  <c:v>0.6639826077667472</c:v>
                </c:pt>
                <c:pt idx="19">
                  <c:v>0.6683464700035425</c:v>
                </c:pt>
                <c:pt idx="20">
                  <c:v>0.6725984383368304</c:v>
                </c:pt>
                <c:pt idx="21">
                  <c:v>0.6767427619021871</c:v>
                </c:pt>
                <c:pt idx="22">
                  <c:v>0.6807834773784098</c:v>
                </c:pt>
                <c:pt idx="23">
                  <c:v>0.684724422102133</c:v>
                </c:pt>
                <c:pt idx="24">
                  <c:v>0.6885692462228389</c:v>
                </c:pt>
                <c:pt idx="25">
                  <c:v>0.692321423979190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B$2:$B$27</c:f>
              <c:numCache>
                <c:formatCode>General</c:formatCode>
                <c:ptCount val="26"/>
                <c:pt idx="0">
                  <c:v>146.8728315455837</c:v>
                </c:pt>
                <c:pt idx="1">
                  <c:v>132.89328916527387</c:v>
                </c:pt>
                <c:pt idx="2">
                  <c:v>122.1662411419534</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0</c:v>
                </c:pt>
                <c:pt idx="12">
                  <c:v>98.47467844807466</c:v>
                </c:pt>
                <c:pt idx="13">
                  <c:v>96.98237945307346</c:v>
                </c:pt>
                <c:pt idx="14">
                  <c:v>95.57531647225692</c:v>
                </c:pt>
                <c:pt idx="15">
                  <c:v>94.24434905893577</c:v>
                </c:pt>
                <c:pt idx="16">
                  <c:v>92.98165723748681</c:v>
                </c:pt>
                <c:pt idx="17">
                  <c:v>91.78051932012185</c:v>
                </c:pt>
                <c:pt idx="18">
                  <c:v>90.63513026588956</c:v>
                </c:pt>
                <c:pt idx="19">
                  <c:v>89.54045290004646</c:v>
                </c:pt>
                <c:pt idx="20">
                  <c:v>87.65443857697423</c:v>
                </c:pt>
                <c:pt idx="21">
                  <c:v>85.86271995856178</c:v>
                </c:pt>
                <c:pt idx="22">
                  <c:v>84.15771942208067</c:v>
                </c:pt>
                <c:pt idx="23">
                  <c:v>82.53266009259248</c:v>
                </c:pt>
                <c:pt idx="24">
                  <c:v>80.9814648674454</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0</c:v>
                </c:pt>
                <c:pt idx="12">
                  <c:v>99.89768272876593</c:v>
                </c:pt>
                <c:pt idx="13">
                  <c:v>99.78585453817098</c:v>
                </c:pt>
                <c:pt idx="14">
                  <c:v>99.71978794308859</c:v>
                </c:pt>
                <c:pt idx="15">
                  <c:v>99.69351081402655</c:v>
                </c:pt>
                <c:pt idx="16">
                  <c:v>99.7019385061481</c:v>
                </c:pt>
                <c:pt idx="17">
                  <c:v>99.74072781262095</c:v>
                </c:pt>
                <c:pt idx="18">
                  <c:v>99.80615630160781</c:v>
                </c:pt>
                <c:pt idx="19">
                  <c:v>99.895022566334</c:v>
                </c:pt>
                <c:pt idx="20">
                  <c:v>99.05685464196036</c:v>
                </c:pt>
                <c:pt idx="21">
                  <c:v>98.27218185224295</c:v>
                </c:pt>
                <c:pt idx="22">
                  <c:v>97.5363005142332</c:v>
                </c:pt>
                <c:pt idx="23">
                  <c:v>96.84500983615835</c:v>
                </c:pt>
                <c:pt idx="24">
                  <c:v>96.19454962541184</c:v>
                </c:pt>
                <c:pt idx="25">
                  <c:v>95.581546619309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D$2:$D$27</c:f>
              <c:numCache>
                <c:formatCode>General</c:formatCode>
                <c:ptCount val="26"/>
                <c:pt idx="0">
                  <c:v>109.25263603446061</c:v>
                </c:pt>
                <c:pt idx="1">
                  <c:v>101.9483277198522</c:v>
                </c:pt>
                <c:pt idx="2">
                  <c:v>96.56384480400551</c:v>
                </c:pt>
                <c:pt idx="3">
                  <c:v>97.37200689814352</c:v>
                </c:pt>
                <c:pt idx="4">
                  <c:v>98.32557479987403</c:v>
                </c:pt>
                <c:pt idx="5">
                  <c:v>99.3821681065187</c:v>
                </c:pt>
                <c:pt idx="6">
                  <c:v>98.86432439356018</c:v>
                </c:pt>
                <c:pt idx="7">
                  <c:v>98.5629659362398</c:v>
                </c:pt>
                <c:pt idx="8">
                  <c:v>98.43023063211469</c:v>
                </c:pt>
                <c:pt idx="9">
                  <c:v>98.42994396439725</c:v>
                </c:pt>
                <c:pt idx="10">
                  <c:v>99.22063968569817</c:v>
                </c:pt>
                <c:pt idx="11">
                  <c:v>10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E$2:$E$27</c:f>
              <c:numCache>
                <c:formatCode>General</c:formatCode>
                <c:ptCount val="26"/>
                <c:pt idx="0">
                  <c:v>0.5507767102818683</c:v>
                </c:pt>
                <c:pt idx="1">
                  <c:v>0.5583906643448874</c:v>
                </c:pt>
                <c:pt idx="2">
                  <c:v>0.5657508199391394</c:v>
                </c:pt>
                <c:pt idx="3">
                  <c:v>0.5728696589565305</c:v>
                </c:pt>
                <c:pt idx="4">
                  <c:v>0.5797588580056188</c:v>
                </c:pt>
                <c:pt idx="5">
                  <c:v>0.58642935232299</c:v>
                </c:pt>
                <c:pt idx="6">
                  <c:v>0.5928913936929431</c:v>
                </c:pt>
                <c:pt idx="7">
                  <c:v>0.599154603020744</c:v>
                </c:pt>
                <c:pt idx="8">
                  <c:v>0.6052280181264904</c:v>
                </c:pt>
                <c:pt idx="9">
                  <c:v>0.6111201372589309</c:v>
                </c:pt>
                <c:pt idx="10">
                  <c:v>0.616838958769829</c:v>
                </c:pt>
                <c:pt idx="11">
                  <c:v>0.6223920173383821</c:v>
                </c:pt>
                <c:pt idx="12">
                  <c:v>0.6277864170906909</c:v>
                </c:pt>
                <c:pt idx="13">
                  <c:v>0.6330288619203995</c:v>
                </c:pt>
                <c:pt idx="14">
                  <c:v>0.6381256832826162</c:v>
                </c:pt>
                <c:pt idx="15">
                  <c:v>0.6430828657034023</c:v>
                </c:pt>
                <c:pt idx="16">
                  <c:v>0.6479060702209238</c:v>
                </c:pt>
                <c:pt idx="17">
                  <c:v>0.6526006559513116</c:v>
                </c:pt>
                <c:pt idx="18">
                  <c:v>0.6571716999519521</c:v>
                </c:pt>
                <c:pt idx="19">
                  <c:v>0.6616240155369917</c:v>
                </c:pt>
                <c:pt idx="20">
                  <c:v>0.6659621691839535</c:v>
                </c:pt>
                <c:pt idx="21">
                  <c:v>0.6701904961563084</c:v>
                </c:pt>
                <c:pt idx="22">
                  <c:v>0.6743131149543546</c:v>
                </c:pt>
                <c:pt idx="23">
                  <c:v>0.6783339406956588</c:v>
                </c:pt>
                <c:pt idx="24">
                  <c:v>0.6822566975164436</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0</c:v>
                </c:pt>
                <c:pt idx="10">
                  <c:v>98.4698281523723</c:v>
                </c:pt>
                <c:pt idx="11">
                  <c:v>97.07031981049398</c:v>
                </c:pt>
                <c:pt idx="12">
                  <c:v>94.08896185937347</c:v>
                </c:pt>
                <c:pt idx="13">
                  <c:v>91.440967204043</c:v>
                </c:pt>
                <c:pt idx="14">
                  <c:v>89.06279458445951</c:v>
                </c:pt>
                <c:pt idx="15">
                  <c:v>86.90594629798343</c:v>
                </c:pt>
                <c:pt idx="16">
                  <c:v>85.51672001189222</c:v>
                </c:pt>
                <c:pt idx="17">
                  <c:v>84.18056508107861</c:v>
                </c:pt>
                <c:pt idx="18">
                  <c:v>82.89387689304999</c:v>
                </c:pt>
                <c:pt idx="19">
                  <c:v>81.62541106896884</c:v>
                </c:pt>
                <c:pt idx="20">
                  <c:v>80.42703497341958</c:v>
                </c:pt>
                <c:pt idx="21">
                  <c:v>79.29128502196967</c:v>
                </c:pt>
                <c:pt idx="22">
                  <c:v>78.21177315211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0</c:v>
                </c:pt>
                <c:pt idx="10">
                  <c:v>100.07568941098795</c:v>
                </c:pt>
                <c:pt idx="11">
                  <c:v>100.23650056235458</c:v>
                </c:pt>
                <c:pt idx="12">
                  <c:v>98.69123630574931</c:v>
                </c:pt>
                <c:pt idx="13">
                  <c:v>97.40413183240703</c:v>
                </c:pt>
                <c:pt idx="14">
                  <c:v>96.32270306116378</c:v>
                </c:pt>
                <c:pt idx="15">
                  <c:v>95.40685589544037</c:v>
                </c:pt>
                <c:pt idx="16">
                  <c:v>95.2761231394113</c:v>
                </c:pt>
                <c:pt idx="17">
                  <c:v>95.1600833992395</c:v>
                </c:pt>
                <c:pt idx="18">
                  <c:v>95.05719669042381</c:v>
                </c:pt>
                <c:pt idx="19">
                  <c:v>94.93432484162392</c:v>
                </c:pt>
                <c:pt idx="20">
                  <c:v>94.8527321525392</c:v>
                </c:pt>
                <c:pt idx="21">
                  <c:v>94.80691965620373</c:v>
                </c:pt>
                <c:pt idx="22">
                  <c:v>94.792205988306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5</c:v>
                </c:pt>
                <c:pt idx="9">
                  <c:v>10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599278719111518</c:v>
                </c:pt>
                <c:pt idx="1">
                  <c:v>0.5682311196109414</c:v>
                </c:pt>
                <c:pt idx="2">
                  <c:v>0.5762268396181464</c:v>
                </c:pt>
                <c:pt idx="3">
                  <c:v>0.5839318061705435</c:v>
                </c:pt>
                <c:pt idx="4">
                  <c:v>0.5913615953460695</c:v>
                </c:pt>
                <c:pt idx="5">
                  <c:v>0.5985306901645595</c:v>
                </c:pt>
                <c:pt idx="6">
                  <c:v>0.6054525748168949</c:v>
                </c:pt>
                <c:pt idx="7">
                  <c:v>0.6121398193115236</c:v>
                </c:pt>
                <c:pt idx="8">
                  <c:v>0.6186041556563316</c:v>
                </c:pt>
                <c:pt idx="9">
                  <c:v>0.6248565465472113</c:v>
                </c:pt>
                <c:pt idx="10">
                  <c:v>0.6309072474093531</c:v>
                </c:pt>
                <c:pt idx="11">
                  <c:v>0.6367658625298397</c:v>
                </c:pt>
                <c:pt idx="12">
                  <c:v>0.6424413959278109</c:v>
                </c:pt>
                <c:pt idx="13">
                  <c:v>0.6479422975289216</c:v>
                </c:pt>
                <c:pt idx="14">
                  <c:v>0.6532765051421197</c:v>
                </c:pt>
                <c:pt idx="15">
                  <c:v>0.6584514826773118</c:v>
                </c:pt>
                <c:pt idx="16">
                  <c:v>0.6634742549908809</c:v>
                </c:pt>
                <c:pt idx="17">
                  <c:v>0.6683514397011578</c:v>
                </c:pt>
                <c:pt idx="18">
                  <c:v>0.6730892762768558</c:v>
                </c:pt>
                <c:pt idx="19">
                  <c:v>0.6776936526673225</c:v>
                </c:pt>
                <c:pt idx="20">
                  <c:v>0.6821701297136097</c:v>
                </c:pt>
                <c:pt idx="21">
                  <c:v>0.6865239635531493</c:v>
                </c:pt>
                <c:pt idx="22">
                  <c:v>0.690760126207836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0</c:v>
                </c:pt>
                <c:pt idx="6">
                  <c:v>96.34385125273205</c:v>
                </c:pt>
                <c:pt idx="7">
                  <c:v>93.00635080212257</c:v>
                </c:pt>
                <c:pt idx="8">
                  <c:v>89.93856314052732</c:v>
                </c:pt>
                <c:pt idx="9">
                  <c:v>87.10154925958143</c:v>
                </c:pt>
                <c:pt idx="10">
                  <c:v>86.2163711293134</c:v>
                </c:pt>
                <c:pt idx="11">
                  <c:v>85.34399478075807</c:v>
                </c:pt>
                <c:pt idx="12">
                  <c:v>84.4841649685604</c:v>
                </c:pt>
                <c:pt idx="13">
                  <c:v>83.63663298607126</c:v>
                </c:pt>
                <c:pt idx="14">
                  <c:v>82.801156466908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0</c:v>
                </c:pt>
                <c:pt idx="6">
                  <c:v>98.58192422978745</c:v>
                </c:pt>
                <c:pt idx="7">
                  <c:v>97.32744929446683</c:v>
                </c:pt>
                <c:pt idx="8">
                  <c:v>96.20643507855955</c:v>
                </c:pt>
                <c:pt idx="9">
                  <c:v>95.1951201042214</c:v>
                </c:pt>
                <c:pt idx="10">
                  <c:v>96.23011155813526</c:v>
                </c:pt>
                <c:pt idx="11">
                  <c:v>97.23852195905694</c:v>
                </c:pt>
                <c:pt idx="12">
                  <c:v>98.22094999756622</c:v>
                </c:pt>
                <c:pt idx="13">
                  <c:v>99.17797822629227</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0</c:v>
                </c:pt>
                <c:pt idx="6">
                  <c:v>100.3016914118349</c:v>
                </c:pt>
                <c:pt idx="7">
                  <c:v>100.64781967574315</c:v>
                </c:pt>
                <c:pt idx="8">
                  <c:v>101.02268898004174</c:v>
                </c:pt>
                <c:pt idx="9">
                  <c:v>101.4142014982935</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E$2:$E$16</c:f>
              <c:numCache>
                <c:formatCode>General</c:formatCode>
                <c:ptCount val="15"/>
                <c:pt idx="0">
                  <c:v>0.5090140035165894</c:v>
                </c:pt>
                <c:pt idx="1">
                  <c:v>0.5216033880418052</c:v>
                </c:pt>
                <c:pt idx="2">
                  <c:v>0.5335633033407599</c:v>
                </c:pt>
                <c:pt idx="3">
                  <c:v>0.5449398081373267</c:v>
                </c:pt>
                <c:pt idx="4">
                  <c:v>0.5557745746102474</c:v>
                </c:pt>
                <c:pt idx="5">
                  <c:v>0.5661053984565207</c:v>
                </c:pt>
                <c:pt idx="6">
                  <c:v>0.5759666394006908</c:v>
                </c:pt>
                <c:pt idx="7">
                  <c:v>0.5853896029695642</c:v>
                </c:pt>
                <c:pt idx="8">
                  <c:v>0.594402872470226</c:v>
                </c:pt>
                <c:pt idx="9">
                  <c:v>0.6030325985878806</c:v>
                </c:pt>
                <c:pt idx="10">
                  <c:v>0.6113027527839667</c:v>
                </c:pt>
                <c:pt idx="11">
                  <c:v>0.6192353496659264</c:v>
                </c:pt>
                <c:pt idx="12">
                  <c:v>0.626850642672608</c:v>
                </c:pt>
                <c:pt idx="13">
                  <c:v>0.634167296737851</c:v>
                </c:pt>
                <c:pt idx="14">
                  <c:v>0.641202541031353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c:v>
                </c:pt>
                <c:pt idx="3">
                  <c:v>-2.0214777175494323</c:v>
                </c:pt>
                <c:pt idx="4">
                  <c:v>-1.693777919740658</c:v>
                </c:pt>
                <c:pt idx="5">
                  <c:v>-0.6611349891635278</c:v>
                </c:pt>
                <c:pt idx="6">
                  <c:v>-0.9921652760238072</c:v>
                </c:pt>
                <c:pt idx="7">
                  <c:v>-1.6798557570423183</c:v>
                </c:pt>
                <c:pt idx="8">
                  <c:v>-0.9981754622627783</c:v>
                </c:pt>
                <c:pt idx="9">
                  <c:v>-2.358039757655883</c:v>
                </c:pt>
              </c:numCache>
            </c:numRef>
          </c:xVal>
          <c:yVal>
            <c:numRef>
              <c:f>Sheet1!$B$2:$B$11</c:f>
              <c:numCache>
                <c:formatCode>General</c:formatCode>
                <c:ptCount val="10"/>
                <c:pt idx="0">
                  <c:v>-1.465495800762023</c:v>
                </c:pt>
                <c:pt idx="1">
                  <c:v>-1.4349872907702883</c:v>
                </c:pt>
                <c:pt idx="2">
                  <c:v>-2.1760565861746852</c:v>
                </c:pt>
                <c:pt idx="3">
                  <c:v>-1.2558012946190356</c:v>
                </c:pt>
                <c:pt idx="4">
                  <c:v>-1.9865741602969371</c:v>
                </c:pt>
                <c:pt idx="5">
                  <c:v>-0.5731599110845319</c:v>
                </c:pt>
                <c:pt idx="6">
                  <c:v>-0.9922690645863588</c:v>
                </c:pt>
                <c:pt idx="7">
                  <c:v>-1.0283080530150028</c:v>
                </c:pt>
                <c:pt idx="8">
                  <c:v>-0.6521664217171125</c:v>
                </c:pt>
                <c:pt idx="9">
                  <c:v>-0.67957307532991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3.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3.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1</c:v>
                </c:pt>
                <c:pt idx="1">
                  <c:v>0.21388377194238903</c:v>
                </c:pt>
                <c:pt idx="2">
                  <c:v>0.1492429082896388</c:v>
                </c:pt>
                <c:pt idx="3">
                  <c:v>0.09029467793441827</c:v>
                </c:pt>
                <c:pt idx="4">
                  <c:v>0.07718544544425769</c:v>
                </c:pt>
                <c:pt idx="5">
                  <c:v>0.032725489973964496</c:v>
                </c:pt>
                <c:pt idx="6">
                  <c:v>0.02131984950530859</c:v>
                </c:pt>
                <c:pt idx="7">
                  <c:v>0.013410559509189034</c:v>
                </c:pt>
                <c:pt idx="8">
                  <c:v>0.012353580096403471</c:v>
                </c:pt>
                <c:pt idx="9">
                  <c:v>0.01180678106350698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20.64925771651487</c:v>
                </c:pt>
                <c:pt idx="1">
                  <c:v>117.12341609723396</c:v>
                </c:pt>
                <c:pt idx="2">
                  <c:v>115.0877464602598</c:v>
                </c:pt>
                <c:pt idx="3">
                  <c:v>113.14823090400567</c:v>
                </c:pt>
                <c:pt idx="4">
                  <c:v>111.2964314806269</c:v>
                </c:pt>
                <c:pt idx="5">
                  <c:v>109.38065073707102</c:v>
                </c:pt>
                <c:pt idx="6">
                  <c:v>107.58517639046643</c:v>
                </c:pt>
                <c:pt idx="7">
                  <c:v>105.89640220931469</c:v>
                </c:pt>
                <c:pt idx="8">
                  <c:v>104.30273837622998</c:v>
                </c:pt>
                <c:pt idx="9">
                  <c:v>102.79426959100064</c:v>
                </c:pt>
                <c:pt idx="10">
                  <c:v>101.3624752248678</c:v>
                </c:pt>
                <c:pt idx="11">
                  <c:v>100.0</c:v>
                </c:pt>
                <c:pt idx="12">
                  <c:v>98.13158263892022</c:v>
                </c:pt>
                <c:pt idx="13">
                  <c:v>96.3585779075671</c:v>
                </c:pt>
                <c:pt idx="14">
                  <c:v>94.67307344049097</c:v>
                </c:pt>
                <c:pt idx="15">
                  <c:v>93.06800666468588</c:v>
                </c:pt>
                <c:pt idx="16">
                  <c:v>91.53705795005493</c:v>
                </c:pt>
                <c:pt idx="17">
                  <c:v>90.07455865868478</c:v>
                </c:pt>
                <c:pt idx="18">
                  <c:v>88.67541186850235</c:v>
                </c:pt>
                <c:pt idx="19">
                  <c:v>87.33502389231924</c:v>
                </c:pt>
                <c:pt idx="20">
                  <c:v>86.04924500479197</c:v>
                </c:pt>
                <c:pt idx="21">
                  <c:v>84.80226130097124</c:v>
                </c:pt>
                <c:pt idx="22">
                  <c:v>83.5816700675227</c:v>
                </c:pt>
                <c:pt idx="23">
                  <c:v>82.38665817936726</c:v>
                </c:pt>
                <c:pt idx="24">
                  <c:v>81.2164485521505</c:v>
                </c:pt>
                <c:pt idx="25">
                  <c:v>80.07029796538738</c:v>
                </c:pt>
                <c:pt idx="26">
                  <c:v>78.94749505013941</c:v>
                </c:pt>
                <c:pt idx="27">
                  <c:v>77.8473584269571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103.4722246311808</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0</c:v>
                </c:pt>
                <c:pt idx="12">
                  <c:v>99.40063910061059</c:v>
                </c:pt>
                <c:pt idx="13">
                  <c:v>98.85087736876135</c:v>
                </c:pt>
                <c:pt idx="14">
                  <c:v>98.34618969610992</c:v>
                </c:pt>
                <c:pt idx="15">
                  <c:v>97.88253658793109</c:v>
                </c:pt>
                <c:pt idx="16">
                  <c:v>97.45630515813684</c:v>
                </c:pt>
                <c:pt idx="17">
                  <c:v>97.06425792413769</c:v>
                </c:pt>
                <c:pt idx="18">
                  <c:v>96.70348831738254</c:v>
                </c:pt>
                <c:pt idx="19">
                  <c:v>96.37138197794856</c:v>
                </c:pt>
                <c:pt idx="20">
                  <c:v>96.0655830337684</c:v>
                </c:pt>
                <c:pt idx="21">
                  <c:v>95.77039305794366</c:v>
                </c:pt>
                <c:pt idx="22">
                  <c:v>95.47310209204487</c:v>
                </c:pt>
                <c:pt idx="23">
                  <c:v>95.17379492233765</c:v>
                </c:pt>
                <c:pt idx="24">
                  <c:v>94.87255634085741</c:v>
                </c:pt>
                <c:pt idx="25">
                  <c:v>94.5694709072802</c:v>
                </c:pt>
                <c:pt idx="26">
                  <c:v>94.26462273820663</c:v>
                </c:pt>
                <c:pt idx="27">
                  <c:v>93.958095321533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87.01497026032783</c:v>
                </c:pt>
                <c:pt idx="1">
                  <c:v>87.44035931064539</c:v>
                </c:pt>
                <c:pt idx="2">
                  <c:v>88.83731247611166</c:v>
                </c:pt>
                <c:pt idx="3">
                  <c:v>90.20774316797595</c:v>
                </c:pt>
                <c:pt idx="4">
                  <c:v>91.55202097667562</c:v>
                </c:pt>
                <c:pt idx="5">
                  <c:v>92.74818470062746</c:v>
                </c:pt>
                <c:pt idx="6">
                  <c:v>93.95230515683454</c:v>
                </c:pt>
                <c:pt idx="7">
                  <c:v>95.16130234622675</c:v>
                </c:pt>
                <c:pt idx="8">
                  <c:v>96.37258006275994</c:v>
                </c:pt>
                <c:pt idx="9">
                  <c:v>97.58395684009452</c:v>
                </c:pt>
                <c:pt idx="10">
                  <c:v>98.7936053879164</c:v>
                </c:pt>
                <c:pt idx="11">
                  <c:v>100.0</c:v>
                </c:pt>
                <c:pt idx="12">
                  <c:v>100.61857067008447</c:v>
                </c:pt>
                <c:pt idx="13">
                  <c:v>101.24268603079803</c:v>
                </c:pt>
                <c:pt idx="14">
                  <c:v>101.87108637949711</c:v>
                </c:pt>
                <c:pt idx="15">
                  <c:v>102.50264584750846</c:v>
                </c:pt>
                <c:pt idx="16">
                  <c:v>103.13635969409323</c:v>
                </c:pt>
                <c:pt idx="17">
                  <c:v>103.77133251715726</c:v>
                </c:pt>
                <c:pt idx="18">
                  <c:v>104.4067674047617</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43118187243536266</c:v>
                </c:pt>
                <c:pt idx="1">
                  <c:v>0.43967169523483457</c:v>
                </c:pt>
                <c:pt idx="2">
                  <c:v>0.4479118173637343</c:v>
                </c:pt>
                <c:pt idx="3">
                  <c:v>0.45591309537295555</c:v>
                </c:pt>
                <c:pt idx="4">
                  <c:v>0.46368576543905604</c:v>
                </c:pt>
                <c:pt idx="5">
                  <c:v>0.47123948705259044</c:v>
                </c:pt>
                <c:pt idx="6">
                  <c:v>0.478583383065749</c:v>
                </c:pt>
                <c:pt idx="7">
                  <c:v>0.4857260764484098</c:v>
                </c:pt>
                <c:pt idx="8">
                  <c:v>0.4926757240639719</c:v>
                </c:pt>
                <c:pt idx="9">
                  <c:v>0.4994400477431191</c:v>
                </c:pt>
                <c:pt idx="10">
                  <c:v>0.5060263629043937</c:v>
                </c:pt>
                <c:pt idx="11">
                  <c:v>0.5124416049445965</c:v>
                </c:pt>
                <c:pt idx="12">
                  <c:v>0.5186923535991529</c:v>
                </c:pt>
                <c:pt idx="13">
                  <c:v>0.5247848554523283</c:v>
                </c:pt>
                <c:pt idx="14">
                  <c:v>0.5307250447591743</c:v>
                </c:pt>
                <c:pt idx="15">
                  <c:v>0.5365185627251102</c:v>
                </c:pt>
                <c:pt idx="16">
                  <c:v>0.542170775374804</c:v>
                </c:pt>
                <c:pt idx="17">
                  <c:v>0.5476867901293245</c:v>
                </c:pt>
                <c:pt idx="18">
                  <c:v>0.5530714711992135</c:v>
                </c:pt>
                <c:pt idx="19">
                  <c:v>0.5583294538909873</c:v>
                </c:pt>
                <c:pt idx="20">
                  <c:v>0.5634651579155107</c:v>
                </c:pt>
                <c:pt idx="21">
                  <c:v>0.5684827997785509</c:v>
                </c:pt>
                <c:pt idx="22">
                  <c:v>0.573386404326522</c:v>
                </c:pt>
                <c:pt idx="23">
                  <c:v>0.5781798155138643</c:v>
                </c:pt>
                <c:pt idx="24">
                  <c:v>0.5828667064525991</c:v>
                </c:pt>
                <c:pt idx="25">
                  <c:v>0.5874505887992739</c:v>
                </c:pt>
                <c:pt idx="26">
                  <c:v>0.5919348215297165</c:v>
                </c:pt>
                <c:pt idx="27">
                  <c:v>0.596322619147676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0</c:v>
                </c:pt>
                <c:pt idx="11">
                  <c:v>99.0337173283711</c:v>
                </c:pt>
                <c:pt idx="12">
                  <c:v>98.10906603513129</c:v>
                </c:pt>
                <c:pt idx="13">
                  <c:v>97.22231185726588</c:v>
                </c:pt>
                <c:pt idx="14">
                  <c:v>96.37020273936575</c:v>
                </c:pt>
                <c:pt idx="15">
                  <c:v>95.54989383662547</c:v>
                </c:pt>
                <c:pt idx="16">
                  <c:v>94.29698100813214</c:v>
                </c:pt>
                <c:pt idx="17">
                  <c:v>93.09539297321659</c:v>
                </c:pt>
                <c:pt idx="18">
                  <c:v>91.9415101971912</c:v>
                </c:pt>
                <c:pt idx="19">
                  <c:v>90.83206097888805</c:v>
                </c:pt>
                <c:pt idx="20">
                  <c:v>89.7640808635575</c:v>
                </c:pt>
                <c:pt idx="21">
                  <c:v>88.73487743107533</c:v>
                </c:pt>
                <c:pt idx="22">
                  <c:v>87.74199968519976</c:v>
                </c:pt>
                <c:pt idx="23">
                  <c:v>86.78321138732746</c:v>
                </c:pt>
                <c:pt idx="24">
                  <c:v>85.85646777750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0.48756320655372</c:v>
                </c:pt>
                <c:pt idx="1">
                  <c:v>100.71084655104549</c:v>
                </c:pt>
                <c:pt idx="2">
                  <c:v>99.88561995004524</c:v>
                </c:pt>
                <c:pt idx="3">
                  <c:v>99.26740739548762</c:v>
                </c:pt>
                <c:pt idx="4">
                  <c:v>98.81193095825645</c:v>
                </c:pt>
                <c:pt idx="5">
                  <c:v>98.48547069199788</c:v>
                </c:pt>
                <c:pt idx="6">
                  <c:v>98.73306211083882</c:v>
                </c:pt>
                <c:pt idx="7">
                  <c:v>98.9894163480154</c:v>
                </c:pt>
                <c:pt idx="8">
                  <c:v>99.25314507715359</c:v>
                </c:pt>
                <c:pt idx="9">
                  <c:v>99.6158324621927</c:v>
                </c:pt>
                <c:pt idx="10">
                  <c:v>10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91.6261998419418</c:v>
                </c:pt>
                <c:pt idx="1">
                  <c:v>92.8443416329826</c:v>
                </c:pt>
                <c:pt idx="2">
                  <c:v>93.05847913767073</c:v>
                </c:pt>
                <c:pt idx="3">
                  <c:v>93.42166213441698</c:v>
                </c:pt>
                <c:pt idx="4">
                  <c:v>93.89960899316824</c:v>
                </c:pt>
                <c:pt idx="5">
                  <c:v>94.46611875086629</c:v>
                </c:pt>
                <c:pt idx="6">
                  <c:v>95.55695706032725</c:v>
                </c:pt>
                <c:pt idx="7">
                  <c:v>96.63601845287647</c:v>
                </c:pt>
                <c:pt idx="8">
                  <c:v>97.70302017025625</c:v>
                </c:pt>
                <c:pt idx="9">
                  <c:v>98.84881540150387</c:v>
                </c:pt>
                <c:pt idx="10">
                  <c:v>10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5917950709915296</c:v>
                </c:pt>
                <c:pt idx="1">
                  <c:v>0.5982745143091244</c:v>
                </c:pt>
                <c:pt idx="2">
                  <c:v>0.6045514750230444</c:v>
                </c:pt>
                <c:pt idx="3">
                  <c:v>0.6106352984842283</c:v>
                </c:pt>
                <c:pt idx="4">
                  <c:v>0.6165347636587097</c:v>
                </c:pt>
                <c:pt idx="5">
                  <c:v>0.6222581253951467</c:v>
                </c:pt>
                <c:pt idx="6">
                  <c:v>0.6278131529628652</c:v>
                </c:pt>
                <c:pt idx="7">
                  <c:v>0.6332071652387657</c:v>
                </c:pt>
                <c:pt idx="8">
                  <c:v>0.638447062878212</c:v>
                </c:pt>
                <c:pt idx="9">
                  <c:v>0.6435393577672511</c:v>
                </c:pt>
                <c:pt idx="10">
                  <c:v>0.6484902000204839</c:v>
                </c:pt>
                <c:pt idx="11">
                  <c:v>0.6533054027599293</c:v>
                </c:pt>
                <c:pt idx="12">
                  <c:v>0.6579904648847952</c:v>
                </c:pt>
                <c:pt idx="13">
                  <c:v>0.6625505920196644</c:v>
                </c:pt>
                <c:pt idx="14">
                  <c:v>0.6669907158088796</c:v>
                </c:pt>
                <c:pt idx="15">
                  <c:v>0.6713155117074654</c:v>
                </c:pt>
                <c:pt idx="16">
                  <c:v>0.6755294154035235</c:v>
                </c:pt>
                <c:pt idx="17">
                  <c:v>0.6796366379933525</c:v>
                </c:pt>
                <c:pt idx="18">
                  <c:v>0.6836411800184354</c:v>
                </c:pt>
                <c:pt idx="19">
                  <c:v>0.6875468444626524</c:v>
                </c:pt>
                <c:pt idx="20">
                  <c:v>0.6913572487984736</c:v>
                </c:pt>
                <c:pt idx="21">
                  <c:v>0.6950758361623475</c:v>
                </c:pt>
                <c:pt idx="22">
                  <c:v>0.6987058857318433</c:v>
                </c:pt>
                <c:pt idx="23">
                  <c:v>0.7022505223702923</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0</c:v>
                </c:pt>
                <c:pt idx="12">
                  <c:v>98.90595402044936</c:v>
                </c:pt>
                <c:pt idx="13">
                  <c:v>97.8601484411175</c:v>
                </c:pt>
                <c:pt idx="14">
                  <c:v>96.85815413890933</c:v>
                </c:pt>
                <c:pt idx="15">
                  <c:v>95.89612060121891</c:v>
                </c:pt>
                <c:pt idx="16">
                  <c:v>94.36114657124001</c:v>
                </c:pt>
                <c:pt idx="17">
                  <c:v>92.89405650584418</c:v>
                </c:pt>
                <c:pt idx="18">
                  <c:v>91.48977038836958</c:v>
                </c:pt>
                <c:pt idx="19">
                  <c:v>90.14371760179232</c:v>
                </c:pt>
                <c:pt idx="20">
                  <c:v>88.85177556280468</c:v>
                </c:pt>
                <c:pt idx="21">
                  <c:v>87.61021674782178</c:v>
                </c:pt>
                <c:pt idx="22">
                  <c:v>86.41566284929371</c:v>
                </c:pt>
                <c:pt idx="23">
                  <c:v>85.26504500494305</c:v>
                </c:pt>
                <c:pt idx="24">
                  <c:v>84.155569211762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c:v>
                </c:pt>
                <c:pt idx="5">
                  <c:v>99.04149221164292</c:v>
                </c:pt>
                <c:pt idx="6">
                  <c:v>99.14240346004506</c:v>
                </c:pt>
                <c:pt idx="7">
                  <c:v>99.25500494377314</c:v>
                </c:pt>
                <c:pt idx="8">
                  <c:v>99.37766793717749</c:v>
                </c:pt>
                <c:pt idx="9">
                  <c:v>99.5560250213739</c:v>
                </c:pt>
                <c:pt idx="10">
                  <c:v>99.7648716023582</c:v>
                </c:pt>
                <c:pt idx="11">
                  <c:v>10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7</c:v>
                </c:pt>
                <c:pt idx="20">
                  <c:v>99.77734055585125</c:v>
                </c:pt>
                <c:pt idx="21">
                  <c:v>99.57978240421552</c:v>
                </c:pt>
                <c:pt idx="22">
                  <c:v>99.40238503446022</c:v>
                </c:pt>
                <c:pt idx="23">
                  <c:v>99.24350093738865</c:v>
                </c:pt>
                <c:pt idx="24">
                  <c:v>99.10163883215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93.88330987812482</c:v>
                </c:pt>
                <c:pt idx="1">
                  <c:v>94.7542010446137</c:v>
                </c:pt>
                <c:pt idx="2">
                  <c:v>94.56786749920883</c:v>
                </c:pt>
                <c:pt idx="3">
                  <c:v>94.55049432442968</c:v>
                </c:pt>
                <c:pt idx="4">
                  <c:v>94.66525111263353</c:v>
                </c:pt>
                <c:pt idx="5">
                  <c:v>94.88414132235316</c:v>
                </c:pt>
                <c:pt idx="6">
                  <c:v>95.72545486974468</c:v>
                </c:pt>
                <c:pt idx="7">
                  <c:v>96.55812531167324</c:v>
                </c:pt>
                <c:pt idx="8">
                  <c:v>97.38166172854072</c:v>
                </c:pt>
                <c:pt idx="9">
                  <c:v>98.24167301793469</c:v>
                </c:pt>
                <c:pt idx="10">
                  <c:v>99.1154298372171</c:v>
                </c:pt>
                <c:pt idx="11">
                  <c:v>10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6254500755353777</c:v>
                </c:pt>
                <c:pt idx="1">
                  <c:v>0.6313953124316416</c:v>
                </c:pt>
                <c:pt idx="2">
                  <c:v>0.6371547606748971</c:v>
                </c:pt>
                <c:pt idx="3">
                  <c:v>0.6427369951260526</c:v>
                </c:pt>
                <c:pt idx="4">
                  <c:v>0.6481500709574761</c:v>
                </c:pt>
                <c:pt idx="5">
                  <c:v>0.6534015624357229</c:v>
                </c:pt>
                <c:pt idx="6">
                  <c:v>0.6584985982822562</c:v>
                </c:pt>
                <c:pt idx="7">
                  <c:v>0.663447893959325</c:v>
                </c:pt>
                <c:pt idx="8">
                  <c:v>0.6682557811884775</c:v>
                </c:pt>
                <c:pt idx="9">
                  <c:v>0.6729282349745553</c:v>
                </c:pt>
                <c:pt idx="10">
                  <c:v>0.6774708983776864</c:v>
                </c:pt>
                <c:pt idx="11">
                  <c:v>0.681889105249225</c:v>
                </c:pt>
                <c:pt idx="12">
                  <c:v>0.6861879011242354</c:v>
                </c:pt>
                <c:pt idx="13">
                  <c:v>0.690372062442579</c:v>
                </c:pt>
                <c:pt idx="14">
                  <c:v>0.694446114252545</c:v>
                </c:pt>
                <c:pt idx="15">
                  <c:v>0.6984143465349795</c:v>
                </c:pt>
                <c:pt idx="16">
                  <c:v>0.7022808292717106</c:v>
                </c:pt>
                <c:pt idx="17">
                  <c:v>0.706049426369537</c:v>
                </c:pt>
                <c:pt idx="18">
                  <c:v>0.7097238085399179</c:v>
                </c:pt>
                <c:pt idx="19">
                  <c:v>0.7133074652246101</c:v>
                </c:pt>
                <c:pt idx="20">
                  <c:v>0.7168037156487003</c:v>
                </c:pt>
                <c:pt idx="21">
                  <c:v>0.7202157190746196</c:v>
                </c:pt>
                <c:pt idx="22">
                  <c:v>0.7235464843237313</c:v>
                </c:pt>
                <c:pt idx="23">
                  <c:v>0.726798878625805</c:v>
                </c:pt>
                <c:pt idx="24">
                  <c:v>0.7299756358510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9</c:v>
                </c:pt>
                <c:pt idx="6">
                  <c:v>115.6890019712995</c:v>
                </c:pt>
                <c:pt idx="7">
                  <c:v>112.94828557146985</c:v>
                </c:pt>
                <c:pt idx="8">
                  <c:v>109.35005443085855</c:v>
                </c:pt>
                <c:pt idx="9">
                  <c:v>106.00738661021587</c:v>
                </c:pt>
                <c:pt idx="10">
                  <c:v>102.89785943552594</c:v>
                </c:pt>
                <c:pt idx="11">
                  <c:v>100.0</c:v>
                </c:pt>
                <c:pt idx="12">
                  <c:v>97.29364738711797</c:v>
                </c:pt>
                <c:pt idx="13">
                  <c:v>94.76019854230383</c:v>
                </c:pt>
                <c:pt idx="14">
                  <c:v>92.38272796467145</c:v>
                </c:pt>
                <c:pt idx="15">
                  <c:v>88.8518437716988</c:v>
                </c:pt>
                <c:pt idx="16">
                  <c:v>85.53461008101159</c:v>
                </c:pt>
                <c:pt idx="17">
                  <c:v>82.41669871096799</c:v>
                </c:pt>
                <c:pt idx="18">
                  <c:v>79.48453388480566</c:v>
                </c:pt>
                <c:pt idx="19">
                  <c:v>76.72528437027051</c:v>
                </c:pt>
                <c:pt idx="20">
                  <c:v>74.12685448824736</c:v>
                </c:pt>
                <c:pt idx="21">
                  <c:v>71.67787516708458</c:v>
                </c:pt>
                <c:pt idx="22">
                  <c:v>69.36769414280579</c:v>
                </c:pt>
                <c:pt idx="23">
                  <c:v>67.186363635982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C$2:$C$25</c:f>
              <c:numCache>
                <c:formatCode>General</c:formatCode>
                <c:ptCount val="24"/>
                <c:pt idx="0">
                  <c:v>131.8381664890428</c:v>
                </c:pt>
                <c:pt idx="1">
                  <c:v>125.49889791718203</c:v>
                </c:pt>
                <c:pt idx="2">
                  <c:v>119.83026667492993</c:v>
                </c:pt>
                <c:pt idx="3">
                  <c:v>114.80043659937023</c:v>
                </c:pt>
                <c:pt idx="4">
                  <c:v>110.3558983624659</c:v>
                </c:pt>
                <c:pt idx="5">
                  <c:v>109.17686725424147</c:v>
                </c:pt>
                <c:pt idx="6">
                  <c:v>108.05522820903619</c:v>
                </c:pt>
                <c:pt idx="7">
                  <c:v>106.98685077266494</c:v>
                </c:pt>
                <c:pt idx="8">
                  <c:v>105.01969747661784</c:v>
                </c:pt>
                <c:pt idx="9">
                  <c:v>103.20769770182639</c:v>
                </c:pt>
                <c:pt idx="10">
                  <c:v>101.53861110419923</c:v>
                </c:pt>
                <c:pt idx="11">
                  <c:v>100.0</c:v>
                </c:pt>
                <c:pt idx="12">
                  <c:v>98.57965438918335</c:v>
                </c:pt>
                <c:pt idx="13">
                  <c:v>97.26592644195797</c:v>
                </c:pt>
                <c:pt idx="14">
                  <c:v>96.04795358097832</c:v>
                </c:pt>
                <c:pt idx="15">
                  <c:v>93.54080063180638</c:v>
                </c:pt>
                <c:pt idx="16">
                  <c:v>91.17008511187822</c:v>
                </c:pt>
                <c:pt idx="17">
                  <c:v>88.9285362558581</c:v>
                </c:pt>
                <c:pt idx="18">
                  <c:v>86.80898425242069</c:v>
                </c:pt>
                <c:pt idx="19">
                  <c:v>84.80439668624004</c:v>
                </c:pt>
                <c:pt idx="20">
                  <c:v>82.90791366315369</c:v>
                </c:pt>
                <c:pt idx="21">
                  <c:v>81.11288277598932</c:v>
                </c:pt>
                <c:pt idx="22">
                  <c:v>79.41289281395582</c:v>
                </c:pt>
                <c:pt idx="23">
                  <c:v>77.801804140762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c:v>
                </c:pt>
                <c:pt idx="5">
                  <c:v>99.08503527581122</c:v>
                </c:pt>
                <c:pt idx="6">
                  <c:v>99.84910306198587</c:v>
                </c:pt>
                <c:pt idx="7">
                  <c:v>100.57656902143013</c:v>
                </c:pt>
                <c:pt idx="8">
                  <c:v>100.36686443838647</c:v>
                </c:pt>
                <c:pt idx="9">
                  <c:v>100.20166174809656</c:v>
                </c:pt>
                <c:pt idx="10">
                  <c:v>100.08014701054044</c:v>
                </c:pt>
                <c:pt idx="11">
                  <c:v>100.0</c:v>
                </c:pt>
                <c:pt idx="12">
                  <c:v>99.95789638723056</c:v>
                </c:pt>
                <c:pt idx="13">
                  <c:v>99.94994671182796</c:v>
                </c:pt>
                <c:pt idx="14">
                  <c:v>99.9720392059769</c:v>
                </c:pt>
                <c:pt idx="15">
                  <c:v>98.58417233720225</c:v>
                </c:pt>
                <c:pt idx="16">
                  <c:v>97.24583201087913</c:v>
                </c:pt>
                <c:pt idx="17">
                  <c:v>95.9578874543365</c:v>
                </c:pt>
                <c:pt idx="18">
                  <c:v>94.72053509659061</c:v>
                </c:pt>
                <c:pt idx="19">
                  <c:v>93.53339200373313</c:v>
                </c:pt>
                <c:pt idx="20">
                  <c:v>92.39558661311214</c:v>
                </c:pt>
                <c:pt idx="21">
                  <c:v>91.30584804842528</c:v>
                </c:pt>
                <c:pt idx="22">
                  <c:v>90.26259285363571</c:v>
                </c:pt>
                <c:pt idx="23">
                  <c:v>89.26400676425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c:v>
                </c:pt>
                <c:pt idx="5">
                  <c:v>0.44879744272600997</c:v>
                </c:pt>
                <c:pt idx="6">
                  <c:v>0.4567858855850533</c:v>
                </c:pt>
                <c:pt idx="7">
                  <c:v>0.46454608721955254</c:v>
                </c:pt>
                <c:pt idx="8">
                  <c:v>0.472087691624911</c:v>
                </c:pt>
                <c:pt idx="9">
                  <c:v>0.47941980701900944</c:v>
                </c:pt>
                <c:pt idx="10">
                  <c:v>0.48655104253929704</c:v>
                </c:pt>
                <c:pt idx="11">
                  <c:v>0.49348954196444167</c:v>
                </c:pt>
                <c:pt idx="12">
                  <c:v>0.5002430147382488</c:v>
                </c:pt>
                <c:pt idx="13">
                  <c:v>0.5068187645443247</c:v>
                </c:pt>
                <c:pt idx="14">
                  <c:v>0.5132237156541387</c:v>
                </c:pt>
                <c:pt idx="15">
                  <c:v>0.5194644372483164</c:v>
                </c:pt>
                <c:pt idx="16">
                  <c:v>0.5255471658907428</c:v>
                </c:pt>
                <c:pt idx="17">
                  <c:v>0.5314778263171085</c:v>
                </c:pt>
                <c:pt idx="18">
                  <c:v>0.5372620506835638</c:v>
                </c:pt>
                <c:pt idx="19">
                  <c:v>0.542905196406935</c:v>
                </c:pt>
                <c:pt idx="20">
                  <c:v>0.5484123627152853</c:v>
                </c:pt>
                <c:pt idx="21">
                  <c:v>0.5537884060162938</c:v>
                </c:pt>
                <c:pt idx="22">
                  <c:v>0.5590379541808079</c:v>
                </c:pt>
                <c:pt idx="23">
                  <c:v>0.56416541982986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0</c:v>
                </c:pt>
                <c:pt idx="9">
                  <c:v>98.258949578171</c:v>
                </c:pt>
                <c:pt idx="10">
                  <c:v>96.6879164671536</c:v>
                </c:pt>
                <c:pt idx="11">
                  <c:v>95.25075951964497</c:v>
                </c:pt>
                <c:pt idx="12">
                  <c:v>92.82276393454818</c:v>
                </c:pt>
                <c:pt idx="13">
                  <c:v>90.64091223473572</c:v>
                </c:pt>
                <c:pt idx="14">
                  <c:v>88.66102472774928</c:v>
                </c:pt>
                <c:pt idx="15">
                  <c:v>86.84914646998897</c:v>
                </c:pt>
                <c:pt idx="16">
                  <c:v>85.58435183046173</c:v>
                </c:pt>
                <c:pt idx="17">
                  <c:v>84.36479818993644</c:v>
                </c:pt>
                <c:pt idx="18">
                  <c:v>83.18746936345559</c:v>
                </c:pt>
                <c:pt idx="19">
                  <c:v>82.18103537611586</c:v>
                </c:pt>
                <c:pt idx="20">
                  <c:v>81.223987271829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0</c:v>
                </c:pt>
                <c:pt idx="9">
                  <c:v>99.89269985352972</c:v>
                </c:pt>
                <c:pt idx="10">
                  <c:v>99.90318532665097</c:v>
                </c:pt>
                <c:pt idx="11">
                  <c:v>100.00198319426539</c:v>
                </c:pt>
                <c:pt idx="12">
                  <c:v>98.9966719369771</c:v>
                </c:pt>
                <c:pt idx="13">
                  <c:v>98.1771945053907</c:v>
                </c:pt>
                <c:pt idx="14">
                  <c:v>97.50724546748206</c:v>
                </c:pt>
                <c:pt idx="15">
                  <c:v>96.95899485667483</c:v>
                </c:pt>
                <c:pt idx="16">
                  <c:v>96.970066418649</c:v>
                </c:pt>
                <c:pt idx="17">
                  <c:v>96.99107517883189</c:v>
                </c:pt>
                <c:pt idx="18">
                  <c:v>97.02076051428308</c:v>
                </c:pt>
                <c:pt idx="19">
                  <c:v>97.21382632816442</c:v>
                </c:pt>
                <c:pt idx="20">
                  <c:v>97.432629678982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E$2:$E$22</c:f>
              <c:numCache>
                <c:formatCode>General</c:formatCode>
                <c:ptCount val="21"/>
                <c:pt idx="0">
                  <c:v>0.5718491246516497</c:v>
                </c:pt>
                <c:pt idx="1">
                  <c:v>0.5799274430544487</c:v>
                </c:pt>
                <c:pt idx="2">
                  <c:v>0.5877065644793664</c:v>
                </c:pt>
                <c:pt idx="3">
                  <c:v>0.5952028087615595</c:v>
                </c:pt>
                <c:pt idx="4">
                  <c:v>0.6024313300336747</c:v>
                </c:pt>
                <c:pt idx="5">
                  <c:v>0.6094062189804524</c:v>
                </c:pt>
                <c:pt idx="6">
                  <c:v>0.6161405945152721</c:v>
                </c:pt>
                <c:pt idx="7">
                  <c:v>0.6226466861336573</c:v>
                </c:pt>
                <c:pt idx="8">
                  <c:v>0.6289359080314297</c:v>
                </c:pt>
                <c:pt idx="9">
                  <c:v>0.6350189259325537</c:v>
                </c:pt>
                <c:pt idx="10">
                  <c:v>0.6409057174497707</c:v>
                </c:pt>
                <c:pt idx="11">
                  <c:v>0.6466056266965998</c:v>
                </c:pt>
                <c:pt idx="12">
                  <c:v>0.6521274137794654</c:v>
                </c:pt>
                <c:pt idx="13">
                  <c:v>0.6574792997213197</c:v>
                </c:pt>
                <c:pt idx="14">
                  <c:v>0.6626690073012997</c:v>
                </c:pt>
                <c:pt idx="15">
                  <c:v>0.6677037982371011</c:v>
                </c:pt>
                <c:pt idx="16">
                  <c:v>0.6725905070865555</c:v>
                </c:pt>
                <c:pt idx="17">
                  <c:v>0.6773355722012432</c:v>
                </c:pt>
                <c:pt idx="18">
                  <c:v>0.6819450640269398</c:v>
                </c:pt>
                <c:pt idx="19">
                  <c:v>0.6864247110124758</c:v>
                </c:pt>
                <c:pt idx="20">
                  <c:v>0.69077992335952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c:v>
                </c:pt>
                <c:pt idx="1">
                  <c:v>0.159758519478486</c:v>
                </c:pt>
                <c:pt idx="2">
                  <c:v>0.09243052883147909</c:v>
                </c:pt>
                <c:pt idx="3">
                  <c:v>0.0658226740092171</c:v>
                </c:pt>
                <c:pt idx="4">
                  <c:v>0.051289051276040734</c:v>
                </c:pt>
                <c:pt idx="5">
                  <c:v>0.04231777185358473</c:v>
                </c:pt>
                <c:pt idx="6">
                  <c:v>0.04083376062729692</c:v>
                </c:pt>
                <c:pt idx="7">
                  <c:v>0.027484942762720045</c:v>
                </c:pt>
                <c:pt idx="8">
                  <c:v>0.02246912342141015</c:v>
                </c:pt>
                <c:pt idx="9">
                  <c:v>0.0203584911058139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c:v>
                </c:pt>
                <c:pt idx="1">
                  <c:v>0.14681679686064586</c:v>
                </c:pt>
                <c:pt idx="2">
                  <c:v>0.10440597704790751</c:v>
                </c:pt>
                <c:pt idx="3">
                  <c:v>0.07635496812544056</c:v>
                </c:pt>
                <c:pt idx="4">
                  <c:v>0.05015134596132385</c:v>
                </c:pt>
                <c:pt idx="5">
                  <c:v>0.03909409746925438</c:v>
                </c:pt>
                <c:pt idx="6">
                  <c:v>0.03674761888800739</c:v>
                </c:pt>
                <c:pt idx="7">
                  <c:v>0.03352927001526109</c:v>
                </c:pt>
                <c:pt idx="8">
                  <c:v>0.02693637298614637</c:v>
                </c:pt>
                <c:pt idx="9">
                  <c:v>0.0258714800365518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0.09914252086150985</c:v>
                </c:pt>
                <c:pt idx="4">
                  <c:v>0.0752522435101716</c:v>
                </c:pt>
                <c:pt idx="5">
                  <c:v>0.041198488194822094</c:v>
                </c:pt>
                <c:pt idx="6">
                  <c:v>0.03517829313026466</c:v>
                </c:pt>
                <c:pt idx="7">
                  <c:v>0.014673313957433884</c:v>
                </c:pt>
                <c:pt idx="8">
                  <c:v>0.014174972550902538</c:v>
                </c:pt>
                <c:pt idx="9">
                  <c:v>0.0110302130832694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c:v>
                </c:pt>
                <c:pt idx="2">
                  <c:v>0.09281692285870569</c:v>
                </c:pt>
                <c:pt idx="3">
                  <c:v>0.0889216899098949</c:v>
                </c:pt>
                <c:pt idx="4">
                  <c:v>0.04945532007770853</c:v>
                </c:pt>
                <c:pt idx="5">
                  <c:v>0.0471702721089987</c:v>
                </c:pt>
                <c:pt idx="6">
                  <c:v>0.04479547084388201</c:v>
                </c:pt>
                <c:pt idx="7">
                  <c:v>0.019836488029348974</c:v>
                </c:pt>
                <c:pt idx="8">
                  <c:v>0.01955495505568128</c:v>
                </c:pt>
                <c:pt idx="9">
                  <c:v>0.0096675582696114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4</c:v>
                </c:pt>
                <c:pt idx="1">
                  <c:v>0.13313442426668165</c:v>
                </c:pt>
                <c:pt idx="2">
                  <c:v>0.0851612443966989</c:v>
                </c:pt>
                <c:pt idx="3">
                  <c:v>0.07724188354921473</c:v>
                </c:pt>
                <c:pt idx="4">
                  <c:v>0.07601057188943787</c:v>
                </c:pt>
                <c:pt idx="5">
                  <c:v>0.047165487097271336</c:v>
                </c:pt>
                <c:pt idx="6">
                  <c:v>0.041922241655936054</c:v>
                </c:pt>
                <c:pt idx="7">
                  <c:v>0.025798460158035535</c:v>
                </c:pt>
                <c:pt idx="8">
                  <c:v>0.01873229632342327</c:v>
                </c:pt>
                <c:pt idx="9">
                  <c:v>0.0120842361735561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2</c:v>
                </c:pt>
                <c:pt idx="1">
                  <c:v>0.15232755908994744</c:v>
                </c:pt>
                <c:pt idx="2">
                  <c:v>0.09237246577462921</c:v>
                </c:pt>
                <c:pt idx="3">
                  <c:v>0.04749602048372708</c:v>
                </c:pt>
                <c:pt idx="4">
                  <c:v>0.0445819063984422</c:v>
                </c:pt>
                <c:pt idx="5">
                  <c:v>0.04318950347504996</c:v>
                </c:pt>
                <c:pt idx="6">
                  <c:v>0.04038928145676168</c:v>
                </c:pt>
                <c:pt idx="7">
                  <c:v>0.030191217463738613</c:v>
                </c:pt>
                <c:pt idx="8">
                  <c:v>0.020178975434452132</c:v>
                </c:pt>
                <c:pt idx="9">
                  <c:v>0.0155326123046112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2</c:v>
                </c:pt>
                <c:pt idx="1">
                  <c:v>0.12542148645715442</c:v>
                </c:pt>
                <c:pt idx="2">
                  <c:v>0.10974797423796653</c:v>
                </c:pt>
                <c:pt idx="3">
                  <c:v>0.06413409854074348</c:v>
                </c:pt>
                <c:pt idx="4">
                  <c:v>0.06042013952835823</c:v>
                </c:pt>
                <c:pt idx="5">
                  <c:v>0.05130605443637819</c:v>
                </c:pt>
                <c:pt idx="6">
                  <c:v>0.04009238756793825</c:v>
                </c:pt>
                <c:pt idx="7">
                  <c:v>0.029734349828676856</c:v>
                </c:pt>
                <c:pt idx="8">
                  <c:v>0.028345699229777997</c:v>
                </c:pt>
                <c:pt idx="9">
                  <c:v>0.0269230610527258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5</c:v>
                </c:pt>
                <c:pt idx="1">
                  <c:v>0.12000679981037958</c:v>
                </c:pt>
                <c:pt idx="2">
                  <c:v>0.11337476432102254</c:v>
                </c:pt>
                <c:pt idx="3">
                  <c:v>0.06576603305411034</c:v>
                </c:pt>
                <c:pt idx="4">
                  <c:v>0.06511484781514042</c:v>
                </c:pt>
                <c:pt idx="5">
                  <c:v>0.05420802604702453</c:v>
                </c:pt>
                <c:pt idx="6">
                  <c:v>0.04162572497799095</c:v>
                </c:pt>
                <c:pt idx="7">
                  <c:v>0.03147165455608427</c:v>
                </c:pt>
                <c:pt idx="8">
                  <c:v>0.028616474112980402</c:v>
                </c:pt>
                <c:pt idx="9">
                  <c:v>0.0277910050151773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0.09467721149935984</c:v>
                </c:pt>
                <c:pt idx="5">
                  <c:v>0.03108694524899592</c:v>
                </c:pt>
                <c:pt idx="6">
                  <c:v>0.02533894990649663</c:v>
                </c:pt>
                <c:pt idx="7">
                  <c:v>0.01117476044362107</c:v>
                </c:pt>
                <c:pt idx="8">
                  <c:v>0.009030559734473946</c:v>
                </c:pt>
                <c:pt idx="9">
                  <c:v>0.007288777453458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4</c:v>
                </c:pt>
                <c:pt idx="4">
                  <c:v>-2.5501190662067463</c:v>
                </c:pt>
                <c:pt idx="5">
                  <c:v>-0.9268684452906951</c:v>
                </c:pt>
                <c:pt idx="6">
                  <c:v>-1.123846538543683</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c:v>
                </c:pt>
                <c:pt idx="1">
                  <c:v>-0.5792469638595062</c:v>
                </c:pt>
                <c:pt idx="2">
                  <c:v>-0.969969695197626</c:v>
                </c:pt>
                <c:pt idx="3">
                  <c:v>-1.8495805662715863</c:v>
                </c:pt>
                <c:pt idx="4">
                  <c:v>-0.8204975251323404</c:v>
                </c:pt>
                <c:pt idx="5">
                  <c:v>-0.7463953355228555</c:v>
                </c:pt>
                <c:pt idx="6">
                  <c:v>-1.3985666078486745</c:v>
                </c:pt>
                <c:pt idx="7">
                  <c:v>-1.8229064242910398</c:v>
                </c:pt>
                <c:pt idx="8">
                  <c:v>-1.0826881318730208</c:v>
                </c:pt>
                <c:pt idx="9">
                  <c:v>-0.8735353105573624</c:v>
                </c:pt>
                <c:pt idx="10">
                  <c:v>-0.8717296320754538</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3.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2.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7</c:v>
                </c:pt>
                <c:pt idx="1">
                  <c:v>0.221292107102256</c:v>
                </c:pt>
                <c:pt idx="2">
                  <c:v>0.2064841729915222</c:v>
                </c:pt>
                <c:pt idx="3">
                  <c:v>0.11138838221841169</c:v>
                </c:pt>
                <c:pt idx="4">
                  <c:v>0.10864502403659261</c:v>
                </c:pt>
                <c:pt idx="5">
                  <c:v>0.017905928938641354</c:v>
                </c:pt>
                <c:pt idx="6">
                  <c:v>0.016237115933768278</c:v>
                </c:pt>
                <c:pt idx="7">
                  <c:v>0.005777465395601769</c:v>
                </c:pt>
                <c:pt idx="8">
                  <c:v>0.005297902019610463</c:v>
                </c:pt>
                <c:pt idx="9">
                  <c:v>0.0037711357891766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8</c:v>
                </c:pt>
                <c:pt idx="1">
                  <c:v>0.16790072279518084</c:v>
                </c:pt>
                <c:pt idx="2">
                  <c:v>0.16007236733657526</c:v>
                </c:pt>
                <c:pt idx="3">
                  <c:v>0.14583866288230676</c:v>
                </c:pt>
                <c:pt idx="4">
                  <c:v>0.108322051668326</c:v>
                </c:pt>
                <c:pt idx="5">
                  <c:v>0.04660204171849397</c:v>
                </c:pt>
                <c:pt idx="6">
                  <c:v>0.02180496525588919</c:v>
                </c:pt>
                <c:pt idx="7">
                  <c:v>0.0215084825859112</c:v>
                </c:pt>
                <c:pt idx="8">
                  <c:v>0.009607134638562994</c:v>
                </c:pt>
                <c:pt idx="9">
                  <c:v>0.0063859393507706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0.029842489962297793</c:v>
                </c:pt>
                <c:pt idx="6">
                  <c:v>0.020301908815208363</c:v>
                </c:pt>
                <c:pt idx="7">
                  <c:v>0.01570667157940961</c:v>
                </c:pt>
                <c:pt idx="8">
                  <c:v>0.00958864459169122</c:v>
                </c:pt>
                <c:pt idx="9">
                  <c:v>0.0086569282159410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0.09741376298201034</c:v>
                </c:pt>
                <c:pt idx="3">
                  <c:v>0.0939115628194421</c:v>
                </c:pt>
                <c:pt idx="4">
                  <c:v>0.088426065349495</c:v>
                </c:pt>
                <c:pt idx="5">
                  <c:v>0.04296715989505308</c:v>
                </c:pt>
                <c:pt idx="6">
                  <c:v>0.035410771116927565</c:v>
                </c:pt>
                <c:pt idx="7">
                  <c:v>0.033274035077029425</c:v>
                </c:pt>
                <c:pt idx="8">
                  <c:v>0.029147111064518384</c:v>
                </c:pt>
                <c:pt idx="9">
                  <c:v>0.0160116863304423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c:v>
                </c:pt>
                <c:pt idx="1">
                  <c:v>0.16401850209163013</c:v>
                </c:pt>
                <c:pt idx="2">
                  <c:v>0.11983996754020654</c:v>
                </c:pt>
                <c:pt idx="3">
                  <c:v>0.08710924232276471</c:v>
                </c:pt>
                <c:pt idx="4">
                  <c:v>0.08182016806156583</c:v>
                </c:pt>
                <c:pt idx="5">
                  <c:v>0.038166215010224845</c:v>
                </c:pt>
                <c:pt idx="6">
                  <c:v>0.02829724300141776</c:v>
                </c:pt>
                <c:pt idx="7">
                  <c:v>0.028180120829103487</c:v>
                </c:pt>
                <c:pt idx="8">
                  <c:v>0.02585814654594435</c:v>
                </c:pt>
                <c:pt idx="9">
                  <c:v>0.016284931141928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0.0910388116108628</c:v>
                </c:pt>
                <c:pt idx="2">
                  <c:v>0.08377756381986094</c:v>
                </c:pt>
                <c:pt idx="3">
                  <c:v>0.07996745594324753</c:v>
                </c:pt>
                <c:pt idx="4">
                  <c:v>0.06404093306450563</c:v>
                </c:pt>
                <c:pt idx="5">
                  <c:v>0.04406492591235791</c:v>
                </c:pt>
                <c:pt idx="6">
                  <c:v>0.04312111291562773</c:v>
                </c:pt>
                <c:pt idx="7">
                  <c:v>0.03852798506503176</c:v>
                </c:pt>
                <c:pt idx="8">
                  <c:v>0.028497506315273577</c:v>
                </c:pt>
                <c:pt idx="9">
                  <c:v>0.0254623900285481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8</c:v>
                </c:pt>
                <c:pt idx="1">
                  <c:v>0.09637942798955505</c:v>
                </c:pt>
                <c:pt idx="2">
                  <c:v>0.08670509501593879</c:v>
                </c:pt>
                <c:pt idx="3">
                  <c:v>0.0814458952659388</c:v>
                </c:pt>
                <c:pt idx="4">
                  <c:v>0.05627718893983741</c:v>
                </c:pt>
                <c:pt idx="5">
                  <c:v>0.056069153693308706</c:v>
                </c:pt>
                <c:pt idx="6">
                  <c:v>0.05320157683636831</c:v>
                </c:pt>
                <c:pt idx="7">
                  <c:v>0.029896972995207334</c:v>
                </c:pt>
                <c:pt idx="8">
                  <c:v>0.025687700396917777</c:v>
                </c:pt>
                <c:pt idx="9">
                  <c:v>0.0212609291613239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0.09918726314470179</c:v>
                </c:pt>
                <c:pt idx="3">
                  <c:v>0.05673045844091573</c:v>
                </c:pt>
                <c:pt idx="4">
                  <c:v>0.05185402472591088</c:v>
                </c:pt>
                <c:pt idx="5">
                  <c:v>0.033675718676092696</c:v>
                </c:pt>
                <c:pt idx="6">
                  <c:v>0.028540716423748252</c:v>
                </c:pt>
                <c:pt idx="7">
                  <c:v>0.02715876975483415</c:v>
                </c:pt>
                <c:pt idx="8">
                  <c:v>0.02107555087487699</c:v>
                </c:pt>
                <c:pt idx="9">
                  <c:v>0.02017930054008721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c:v>
                </c:pt>
                <c:pt idx="1">
                  <c:v>0.15190543027728912</c:v>
                </c:pt>
                <c:pt idx="2">
                  <c:v>0.11590669449758037</c:v>
                </c:pt>
                <c:pt idx="3">
                  <c:v>0.05734201809257737</c:v>
                </c:pt>
                <c:pt idx="4">
                  <c:v>0.05678052795956562</c:v>
                </c:pt>
                <c:pt idx="5">
                  <c:v>0.04253575009051679</c:v>
                </c:pt>
                <c:pt idx="6">
                  <c:v>0.02721684937746555</c:v>
                </c:pt>
                <c:pt idx="7">
                  <c:v>0.01873432367680018</c:v>
                </c:pt>
                <c:pt idx="8">
                  <c:v>0.016810509592462927</c:v>
                </c:pt>
                <c:pt idx="9">
                  <c:v>0.016528309805431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0.07321637297663254</c:v>
                </c:pt>
                <c:pt idx="1">
                  <c:v>0.058405947993093586</c:v>
                </c:pt>
                <c:pt idx="2">
                  <c:v>0.05742867543310221</c:v>
                </c:pt>
                <c:pt idx="3">
                  <c:v>0.05691144182026925</c:v>
                </c:pt>
                <c:pt idx="4">
                  <c:v>0.052764403654343116</c:v>
                </c:pt>
                <c:pt idx="5">
                  <c:v>0.036873576767789004</c:v>
                </c:pt>
                <c:pt idx="6">
                  <c:v>0.036573571718160044</c:v>
                </c:pt>
                <c:pt idx="7">
                  <c:v>0.036536983019542016</c:v>
                </c:pt>
                <c:pt idx="8">
                  <c:v>0.03573873105223707</c:v>
                </c:pt>
                <c:pt idx="9">
                  <c:v>0.0333678812239860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c:v>
                </c:pt>
                <c:pt idx="2">
                  <c:v>-3.4086581209416575</c:v>
                </c:pt>
                <c:pt idx="3">
                  <c:v>-0.9183295022986517</c:v>
                </c:pt>
                <c:pt idx="4">
                  <c:v>-1.1288296022868922</c:v>
                </c:pt>
              </c:numCache>
            </c:numRef>
          </c:xVal>
          <c:yVal>
            <c:numRef>
              <c:f>Sheet1!$B$2:$B$6</c:f>
              <c:numCache>
                <c:formatCode>General</c:formatCode>
                <c:ptCount val="5"/>
                <c:pt idx="0">
                  <c:v>-1.349012417507965</c:v>
                </c:pt>
                <c:pt idx="1">
                  <c:v>-1.874691974565334</c:v>
                </c:pt>
                <c:pt idx="2">
                  <c:v>-1.4583517568209319</c:v>
                </c:pt>
                <c:pt idx="3">
                  <c:v>-0.7106154314324064</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4.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2.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0.08200861805831994</c:v>
                </c:pt>
                <c:pt idx="1">
                  <c:v>0.05839054803224733</c:v>
                </c:pt>
                <c:pt idx="2">
                  <c:v>0.048468983826226615</c:v>
                </c:pt>
                <c:pt idx="3">
                  <c:v>0.04846541850867402</c:v>
                </c:pt>
                <c:pt idx="4">
                  <c:v>0.043026484267955606</c:v>
                </c:pt>
                <c:pt idx="5">
                  <c:v>0.03762274448088173</c:v>
                </c:pt>
                <c:pt idx="6">
                  <c:v>0.037266316772098095</c:v>
                </c:pt>
                <c:pt idx="7">
                  <c:v>0.03216096747822165</c:v>
                </c:pt>
                <c:pt idx="8">
                  <c:v>0.03168868718480909</c:v>
                </c:pt>
                <c:pt idx="9">
                  <c:v>0.0287330030521688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0.08714512010510662</c:v>
                </c:pt>
                <c:pt idx="1">
                  <c:v>0.06890100005579361</c:v>
                </c:pt>
                <c:pt idx="2">
                  <c:v>0.050832625317474296</c:v>
                </c:pt>
                <c:pt idx="3">
                  <c:v>0.04969798853079686</c:v>
                </c:pt>
                <c:pt idx="4">
                  <c:v>0.04559169607604316</c:v>
                </c:pt>
                <c:pt idx="5">
                  <c:v>0.04207868793320423</c:v>
                </c:pt>
                <c:pt idx="6">
                  <c:v>0.041889627766186606</c:v>
                </c:pt>
                <c:pt idx="7">
                  <c:v>0.036743806568491966</c:v>
                </c:pt>
                <c:pt idx="8">
                  <c:v>0.03427704902695695</c:v>
                </c:pt>
                <c:pt idx="9">
                  <c:v>0.034218576744294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0.06771008634485383</c:v>
                </c:pt>
                <c:pt idx="1">
                  <c:v>0.06627512515973563</c:v>
                </c:pt>
                <c:pt idx="2">
                  <c:v>0.04764309290026126</c:v>
                </c:pt>
                <c:pt idx="3">
                  <c:v>0.04175024041913661</c:v>
                </c:pt>
                <c:pt idx="4">
                  <c:v>0.03916140597400949</c:v>
                </c:pt>
                <c:pt idx="5">
                  <c:v>0.035036968557311726</c:v>
                </c:pt>
                <c:pt idx="6">
                  <c:v>0.03415069470549804</c:v>
                </c:pt>
                <c:pt idx="7">
                  <c:v>0.024991211572638002</c:v>
                </c:pt>
                <c:pt idx="8">
                  <c:v>0.023820877523105164</c:v>
                </c:pt>
                <c:pt idx="9">
                  <c:v>0.0237132700766250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0.09905627960942447</c:v>
                </c:pt>
                <c:pt idx="1">
                  <c:v>0.08369196054989815</c:v>
                </c:pt>
                <c:pt idx="2">
                  <c:v>0.07840483265627644</c:v>
                </c:pt>
                <c:pt idx="3">
                  <c:v>0.053727300574208235</c:v>
                </c:pt>
                <c:pt idx="4">
                  <c:v>0.05013365567696239</c:v>
                </c:pt>
                <c:pt idx="5">
                  <c:v>0.04807566281513636</c:v>
                </c:pt>
                <c:pt idx="6">
                  <c:v>0.04183135984672662</c:v>
                </c:pt>
                <c:pt idx="7">
                  <c:v>0.03642464606121757</c:v>
                </c:pt>
                <c:pt idx="8">
                  <c:v>0.035482674717082656</c:v>
                </c:pt>
                <c:pt idx="9">
                  <c:v>0.0321170205790789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0.0990297464677525</c:v>
                </c:pt>
                <c:pt idx="1">
                  <c:v>0.09805098471682439</c:v>
                </c:pt>
                <c:pt idx="2">
                  <c:v>0.09569475095774956</c:v>
                </c:pt>
                <c:pt idx="3">
                  <c:v>0.0676926399141701</c:v>
                </c:pt>
                <c:pt idx="4">
                  <c:v>0.043069663677976426</c:v>
                </c:pt>
                <c:pt idx="5">
                  <c:v>0.04135337307955355</c:v>
                </c:pt>
                <c:pt idx="6">
                  <c:v>0.03574782363704452</c:v>
                </c:pt>
                <c:pt idx="7">
                  <c:v>0.034633327712798465</c:v>
                </c:pt>
                <c:pt idx="8">
                  <c:v>0.029983254748547863</c:v>
                </c:pt>
                <c:pt idx="9">
                  <c:v>0.027968830969371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0.09505794835732471</c:v>
                </c:pt>
                <c:pt idx="2">
                  <c:v>0.06594413219182903</c:v>
                </c:pt>
                <c:pt idx="3">
                  <c:v>0.05879153400378293</c:v>
                </c:pt>
                <c:pt idx="4">
                  <c:v>0.058302261810764804</c:v>
                </c:pt>
                <c:pt idx="5">
                  <c:v>0.049212861636708446</c:v>
                </c:pt>
                <c:pt idx="6">
                  <c:v>0.04609947709701566</c:v>
                </c:pt>
                <c:pt idx="7">
                  <c:v>0.04159916451780648</c:v>
                </c:pt>
                <c:pt idx="8">
                  <c:v>0.040229557597482785</c:v>
                </c:pt>
                <c:pt idx="9">
                  <c:v>0.039549321616897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0.09377665144537303</c:v>
                </c:pt>
                <c:pt idx="3">
                  <c:v>0.05613791493477639</c:v>
                </c:pt>
                <c:pt idx="4">
                  <c:v>0.05274833194021455</c:v>
                </c:pt>
                <c:pt idx="5">
                  <c:v>0.049253951314445946</c:v>
                </c:pt>
                <c:pt idx="6">
                  <c:v>0.035847792232701306</c:v>
                </c:pt>
                <c:pt idx="7">
                  <c:v>0.0351305430040662</c:v>
                </c:pt>
                <c:pt idx="8">
                  <c:v>0.034038747872252056</c:v>
                </c:pt>
                <c:pt idx="9">
                  <c:v>0.033952425526699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0.09911227986781676</c:v>
                </c:pt>
                <c:pt idx="2">
                  <c:v>0.09216778625656157</c:v>
                </c:pt>
                <c:pt idx="3">
                  <c:v>0.09102073685861924</c:v>
                </c:pt>
                <c:pt idx="4">
                  <c:v>0.0563467870988167</c:v>
                </c:pt>
                <c:pt idx="5">
                  <c:v>0.04669086409745193</c:v>
                </c:pt>
                <c:pt idx="6">
                  <c:v>0.03984668901140784</c:v>
                </c:pt>
                <c:pt idx="7">
                  <c:v>0.03790511143273449</c:v>
                </c:pt>
                <c:pt idx="8">
                  <c:v>0.03551936107971334</c:v>
                </c:pt>
                <c:pt idx="9">
                  <c:v>0.031979064188157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0.09695861776811865</c:v>
                </c:pt>
                <c:pt idx="1">
                  <c:v>0.09062984465090382</c:v>
                </c:pt>
                <c:pt idx="2">
                  <c:v>0.08708554792087757</c:v>
                </c:pt>
                <c:pt idx="3">
                  <c:v>0.07569857474930218</c:v>
                </c:pt>
                <c:pt idx="4">
                  <c:v>0.05029710687561238</c:v>
                </c:pt>
                <c:pt idx="5">
                  <c:v>0.03956306010732722</c:v>
                </c:pt>
                <c:pt idx="6">
                  <c:v>0.035632659359172286</c:v>
                </c:pt>
                <c:pt idx="7">
                  <c:v>0.03309219412802918</c:v>
                </c:pt>
                <c:pt idx="8">
                  <c:v>0.03107493916095991</c:v>
                </c:pt>
                <c:pt idx="9">
                  <c:v>0.02724005018346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0.05812529013052252</c:v>
                </c:pt>
                <c:pt idx="1">
                  <c:v>0.043848892284299196</c:v>
                </c:pt>
                <c:pt idx="2">
                  <c:v>0.03771229501034795</c:v>
                </c:pt>
                <c:pt idx="3">
                  <c:v>0.035579824319085095</c:v>
                </c:pt>
                <c:pt idx="4">
                  <c:v>0.032757464081595994</c:v>
                </c:pt>
                <c:pt idx="5">
                  <c:v>0.03141304326998255</c:v>
                </c:pt>
                <c:pt idx="6">
                  <c:v>0.030517236299881862</c:v>
                </c:pt>
                <c:pt idx="7">
                  <c:v>0.027300943609072897</c:v>
                </c:pt>
                <c:pt idx="8">
                  <c:v>0.022423912778479816</c:v>
                </c:pt>
                <c:pt idx="9">
                  <c:v>0.0214077662302146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0.024254673354699004</c:v>
                </c:pt>
                <c:pt idx="5">
                  <c:v>0.023168265424140886</c:v>
                </c:pt>
                <c:pt idx="6">
                  <c:v>0.012806255841047498</c:v>
                </c:pt>
                <c:pt idx="7">
                  <c:v>0.009546089724928767</c:v>
                </c:pt>
                <c:pt idx="8">
                  <c:v>0.006555308085941557</c:v>
                </c:pt>
                <c:pt idx="9">
                  <c:v>0.0051017780244389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0.05008435954158182</c:v>
                </c:pt>
                <c:pt idx="1">
                  <c:v>0.05004572025891976</c:v>
                </c:pt>
                <c:pt idx="2">
                  <c:v>0.04792657538857014</c:v>
                </c:pt>
                <c:pt idx="3">
                  <c:v>0.04381877179361098</c:v>
                </c:pt>
                <c:pt idx="4">
                  <c:v>0.04270350425979451</c:v>
                </c:pt>
                <c:pt idx="5">
                  <c:v>0.03812416922727154</c:v>
                </c:pt>
                <c:pt idx="6">
                  <c:v>0.030969491385507506</c:v>
                </c:pt>
                <c:pt idx="7">
                  <c:v>0.02971925916243761</c:v>
                </c:pt>
                <c:pt idx="8">
                  <c:v>0.026303982188447372</c:v>
                </c:pt>
                <c:pt idx="9">
                  <c:v>0.0247252102323610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0.0854982203469651</c:v>
                </c:pt>
                <c:pt idx="1">
                  <c:v>0.06787628537388925</c:v>
                </c:pt>
                <c:pt idx="2">
                  <c:v>0.04863253137527631</c:v>
                </c:pt>
                <c:pt idx="3">
                  <c:v>0.0452904620237471</c:v>
                </c:pt>
                <c:pt idx="4">
                  <c:v>0.04069769772902878</c:v>
                </c:pt>
                <c:pt idx="5">
                  <c:v>0.0380942463104904</c:v>
                </c:pt>
                <c:pt idx="6">
                  <c:v>0.03469398121328717</c:v>
                </c:pt>
                <c:pt idx="7">
                  <c:v>0.030535227132124552</c:v>
                </c:pt>
                <c:pt idx="8">
                  <c:v>0.02921381277974263</c:v>
                </c:pt>
                <c:pt idx="9">
                  <c:v>0.0285285689978668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0.07424250493096221</c:v>
                </c:pt>
                <c:pt idx="1">
                  <c:v>0.05952499408792486</c:v>
                </c:pt>
                <c:pt idx="2">
                  <c:v>0.05478578336515975</c:v>
                </c:pt>
                <c:pt idx="3">
                  <c:v>0.05219516149267082</c:v>
                </c:pt>
                <c:pt idx="4">
                  <c:v>0.04404078362231858</c:v>
                </c:pt>
                <c:pt idx="5">
                  <c:v>0.04385141605448578</c:v>
                </c:pt>
                <c:pt idx="6">
                  <c:v>0.04050547403524997</c:v>
                </c:pt>
                <c:pt idx="7">
                  <c:v>0.031578884851119336</c:v>
                </c:pt>
                <c:pt idx="8">
                  <c:v>0.03024232186660948</c:v>
                </c:pt>
                <c:pt idx="9">
                  <c:v>0.0256687116399048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0.076691145650866</c:v>
                </c:pt>
                <c:pt idx="2">
                  <c:v>0.06124323803782933</c:v>
                </c:pt>
                <c:pt idx="3">
                  <c:v>0.058575050353005746</c:v>
                </c:pt>
                <c:pt idx="4">
                  <c:v>0.04800279768262487</c:v>
                </c:pt>
                <c:pt idx="5">
                  <c:v>0.04572977722913248</c:v>
                </c:pt>
                <c:pt idx="6">
                  <c:v>0.03981285314090279</c:v>
                </c:pt>
                <c:pt idx="7">
                  <c:v>0.03578891319728422</c:v>
                </c:pt>
                <c:pt idx="8">
                  <c:v>0.03483711604254275</c:v>
                </c:pt>
                <c:pt idx="9">
                  <c:v>0.0346253849859443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216059400687581</c:v>
                </c:pt>
                <c:pt idx="1">
                  <c:v>0.07378681660932186</c:v>
                </c:pt>
                <c:pt idx="2">
                  <c:v>0.054780918838417576</c:v>
                </c:pt>
                <c:pt idx="3">
                  <c:v>0.05298158799493157</c:v>
                </c:pt>
                <c:pt idx="4">
                  <c:v>0.042447213631708294</c:v>
                </c:pt>
                <c:pt idx="5">
                  <c:v>0.034342084868621385</c:v>
                </c:pt>
                <c:pt idx="6">
                  <c:v>0.031864408303726756</c:v>
                </c:pt>
                <c:pt idx="7">
                  <c:v>0.030420939380766444</c:v>
                </c:pt>
                <c:pt idx="8">
                  <c:v>0.026666662256752627</c:v>
                </c:pt>
                <c:pt idx="9">
                  <c:v>0.026575128067820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0.08948341725771689</c:v>
                </c:pt>
                <c:pt idx="2">
                  <c:v>0.08421407384999212</c:v>
                </c:pt>
                <c:pt idx="3">
                  <c:v>0.07065131862961392</c:v>
                </c:pt>
                <c:pt idx="4">
                  <c:v>0.05442553023269884</c:v>
                </c:pt>
                <c:pt idx="5">
                  <c:v>0.04965951087101555</c:v>
                </c:pt>
                <c:pt idx="6">
                  <c:v>0.04692047608775089</c:v>
                </c:pt>
                <c:pt idx="7">
                  <c:v>0.041700699137483595</c:v>
                </c:pt>
                <c:pt idx="8">
                  <c:v>0.03960901394158041</c:v>
                </c:pt>
                <c:pt idx="9">
                  <c:v>0.0340898853203030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0.06625052852576713</c:v>
                </c:pt>
                <c:pt idx="4">
                  <c:v>0.05482949731614826</c:v>
                </c:pt>
                <c:pt idx="5">
                  <c:v>0.04356459302944133</c:v>
                </c:pt>
                <c:pt idx="6">
                  <c:v>0.038441491765081284</c:v>
                </c:pt>
                <c:pt idx="7">
                  <c:v>0.037860100297428395</c:v>
                </c:pt>
                <c:pt idx="8">
                  <c:v>0.036459951185690426</c:v>
                </c:pt>
                <c:pt idx="9">
                  <c:v>0.033029612929817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0.06807210037441963</c:v>
                </c:pt>
                <c:pt idx="1">
                  <c:v>0.06515098976289849</c:v>
                </c:pt>
                <c:pt idx="2">
                  <c:v>0.057992191337717956</c:v>
                </c:pt>
                <c:pt idx="3">
                  <c:v>0.0571245993913389</c:v>
                </c:pt>
                <c:pt idx="4">
                  <c:v>0.0510879211946702</c:v>
                </c:pt>
                <c:pt idx="5">
                  <c:v>0.04173092410236001</c:v>
                </c:pt>
                <c:pt idx="6">
                  <c:v>0.036875036306954025</c:v>
                </c:pt>
                <c:pt idx="7">
                  <c:v>0.036742373930271785</c:v>
                </c:pt>
                <c:pt idx="8">
                  <c:v>0.03546227446933155</c:v>
                </c:pt>
                <c:pt idx="9">
                  <c:v>0.0320789414461417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0.06417879036032825</c:v>
                </c:pt>
                <c:pt idx="1">
                  <c:v>0.05697309016729514</c:v>
                </c:pt>
                <c:pt idx="2">
                  <c:v>0.05570784048622314</c:v>
                </c:pt>
                <c:pt idx="3">
                  <c:v>0.0488787207567267</c:v>
                </c:pt>
                <c:pt idx="4">
                  <c:v>0.04577819017112159</c:v>
                </c:pt>
                <c:pt idx="5">
                  <c:v>0.04224318358216777</c:v>
                </c:pt>
                <c:pt idx="6">
                  <c:v>0.035753954816050565</c:v>
                </c:pt>
                <c:pt idx="7">
                  <c:v>0.035480463780936736</c:v>
                </c:pt>
                <c:pt idx="8">
                  <c:v>0.03412493702399839</c:v>
                </c:pt>
                <c:pt idx="9">
                  <c:v>0.032393790986880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0.09868155353011696</c:v>
                </c:pt>
                <c:pt idx="2">
                  <c:v>0.09811524162909531</c:v>
                </c:pt>
                <c:pt idx="3">
                  <c:v>0.07516227811792145</c:v>
                </c:pt>
                <c:pt idx="4">
                  <c:v>0.05959601630451169</c:v>
                </c:pt>
                <c:pt idx="5">
                  <c:v>0.053873584946462036</c:v>
                </c:pt>
                <c:pt idx="6">
                  <c:v>0.04228768844144083</c:v>
                </c:pt>
                <c:pt idx="7">
                  <c:v>0.034056936775116294</c:v>
                </c:pt>
                <c:pt idx="8">
                  <c:v>0.030810200307865066</c:v>
                </c:pt>
                <c:pt idx="9">
                  <c:v>0.0288316405134332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0.09278968483217483</c:v>
                </c:pt>
                <c:pt idx="3">
                  <c:v>0.08037754990084293</c:v>
                </c:pt>
                <c:pt idx="4">
                  <c:v>0.028125109395658057</c:v>
                </c:pt>
                <c:pt idx="5">
                  <c:v>0.017405717850739612</c:v>
                </c:pt>
                <c:pt idx="6">
                  <c:v>0.013950494898928785</c:v>
                </c:pt>
                <c:pt idx="7">
                  <c:v>0.013366172706267233</c:v>
                </c:pt>
                <c:pt idx="8">
                  <c:v>0.009063734512913329</c:v>
                </c:pt>
                <c:pt idx="9">
                  <c:v>0.00686514841962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0.09976433327004443</c:v>
                </c:pt>
                <c:pt idx="2">
                  <c:v>0.09853374522036627</c:v>
                </c:pt>
                <c:pt idx="3">
                  <c:v>0.06189527096954919</c:v>
                </c:pt>
                <c:pt idx="4">
                  <c:v>0.05880326603233263</c:v>
                </c:pt>
                <c:pt idx="5">
                  <c:v>0.052305602090617354</c:v>
                </c:pt>
                <c:pt idx="6">
                  <c:v>0.043594175491905994</c:v>
                </c:pt>
                <c:pt idx="7">
                  <c:v>0.041967022572723965</c:v>
                </c:pt>
                <c:pt idx="8">
                  <c:v>0.035380745133447626</c:v>
                </c:pt>
                <c:pt idx="9">
                  <c:v>0.0315065825180771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0.08517341745192208</c:v>
                </c:pt>
                <c:pt idx="3">
                  <c:v>0.07138575159379894</c:v>
                </c:pt>
                <c:pt idx="4">
                  <c:v>0.06906448209816843</c:v>
                </c:pt>
                <c:pt idx="5">
                  <c:v>0.06462434983050655</c:v>
                </c:pt>
                <c:pt idx="6">
                  <c:v>0.04278764868677268</c:v>
                </c:pt>
                <c:pt idx="7">
                  <c:v>0.042554284287400476</c:v>
                </c:pt>
                <c:pt idx="8">
                  <c:v>0.03677354258185888</c:v>
                </c:pt>
                <c:pt idx="9">
                  <c:v>0.033029406620134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c:v>
                </c:pt>
                <c:pt idx="1">
                  <c:v>0.11045401263021572</c:v>
                </c:pt>
                <c:pt idx="2">
                  <c:v>0.09337857746485861</c:v>
                </c:pt>
                <c:pt idx="3">
                  <c:v>0.08135024166171445</c:v>
                </c:pt>
                <c:pt idx="4">
                  <c:v>0.06364845556336376</c:v>
                </c:pt>
                <c:pt idx="5">
                  <c:v>0.06270658542834211</c:v>
                </c:pt>
                <c:pt idx="6">
                  <c:v>0.03638017432519787</c:v>
                </c:pt>
                <c:pt idx="7">
                  <c:v>0.034574645124944535</c:v>
                </c:pt>
                <c:pt idx="8">
                  <c:v>0.032641551890760116</c:v>
                </c:pt>
                <c:pt idx="9">
                  <c:v>0.029457443351357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0.08041087270584865</c:v>
                </c:pt>
                <c:pt idx="3">
                  <c:v>0.0593051022765326</c:v>
                </c:pt>
                <c:pt idx="4">
                  <c:v>0.05479773949219266</c:v>
                </c:pt>
                <c:pt idx="5">
                  <c:v>0.04871494851365789</c:v>
                </c:pt>
                <c:pt idx="6">
                  <c:v>0.04038511911858959</c:v>
                </c:pt>
                <c:pt idx="7">
                  <c:v>0.03939049801754284</c:v>
                </c:pt>
                <c:pt idx="8">
                  <c:v>0.03811962762999599</c:v>
                </c:pt>
                <c:pt idx="9">
                  <c:v>0.02995085515609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9</c:v>
                </c:pt>
                <c:pt idx="2">
                  <c:v>0.08175607536395428</c:v>
                </c:pt>
                <c:pt idx="3">
                  <c:v>0.07322138903590839</c:v>
                </c:pt>
                <c:pt idx="4">
                  <c:v>0.04689575323320309</c:v>
                </c:pt>
                <c:pt idx="5">
                  <c:v>0.045218094146846036</c:v>
                </c:pt>
                <c:pt idx="6">
                  <c:v>0.03893067674745989</c:v>
                </c:pt>
                <c:pt idx="7">
                  <c:v>0.0341208009430325</c:v>
                </c:pt>
                <c:pt idx="8">
                  <c:v>0.03199082805180967</c:v>
                </c:pt>
                <c:pt idx="9">
                  <c:v>0.029003718843558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0.07047205924952672</c:v>
                </c:pt>
                <c:pt idx="1">
                  <c:v>0.0512127000921704</c:v>
                </c:pt>
                <c:pt idx="2">
                  <c:v>0.047588426678773235</c:v>
                </c:pt>
                <c:pt idx="3">
                  <c:v>0.03990679057838378</c:v>
                </c:pt>
                <c:pt idx="4">
                  <c:v>0.03789915556564537</c:v>
                </c:pt>
                <c:pt idx="5">
                  <c:v>0.034677919200486344</c:v>
                </c:pt>
                <c:pt idx="6">
                  <c:v>0.031871251323390394</c:v>
                </c:pt>
                <c:pt idx="7">
                  <c:v>0.02944826925918876</c:v>
                </c:pt>
                <c:pt idx="8">
                  <c:v>0.027032373648178492</c:v>
                </c:pt>
                <c:pt idx="9">
                  <c:v>0.027013044407772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6108853733989298</c:v>
                </c:pt>
                <c:pt idx="1">
                  <c:v>0.05375605879481451</c:v>
                </c:pt>
                <c:pt idx="2">
                  <c:v>0.04410881095985315</c:v>
                </c:pt>
                <c:pt idx="3">
                  <c:v>0.043194774457873224</c:v>
                </c:pt>
                <c:pt idx="4">
                  <c:v>0.037148538843962055</c:v>
                </c:pt>
                <c:pt idx="5">
                  <c:v>0.032617024230081094</c:v>
                </c:pt>
                <c:pt idx="6">
                  <c:v>0.02737752793740782</c:v>
                </c:pt>
                <c:pt idx="7">
                  <c:v>0.02696216806661446</c:v>
                </c:pt>
                <c:pt idx="8">
                  <c:v>0.02317029099664425</c:v>
                </c:pt>
                <c:pt idx="9">
                  <c:v>0.0227618273970848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0.07389462148941744</c:v>
                </c:pt>
                <c:pt idx="1">
                  <c:v>0.07116453935446379</c:v>
                </c:pt>
                <c:pt idx="2">
                  <c:v>0.0663081650251536</c:v>
                </c:pt>
                <c:pt idx="3">
                  <c:v>0.052987866435689784</c:v>
                </c:pt>
                <c:pt idx="4">
                  <c:v>0.04766135163908898</c:v>
                </c:pt>
                <c:pt idx="5">
                  <c:v>0.0415593669286705</c:v>
                </c:pt>
                <c:pt idx="6">
                  <c:v>0.03725313837524129</c:v>
                </c:pt>
                <c:pt idx="7">
                  <c:v>0.03648695621288774</c:v>
                </c:pt>
                <c:pt idx="8">
                  <c:v>0.03637823815409167</c:v>
                </c:pt>
                <c:pt idx="9">
                  <c:v>0.02616017487054994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0.07767901948428238</c:v>
                </c:pt>
                <c:pt idx="1">
                  <c:v>0.07606838200997498</c:v>
                </c:pt>
                <c:pt idx="2">
                  <c:v>0.06891885609993834</c:v>
                </c:pt>
                <c:pt idx="3">
                  <c:v>0.05524689860864941</c:v>
                </c:pt>
                <c:pt idx="4">
                  <c:v>0.047728252230611196</c:v>
                </c:pt>
                <c:pt idx="5">
                  <c:v>0.04520924866794727</c:v>
                </c:pt>
                <c:pt idx="6">
                  <c:v>0.04331194082171446</c:v>
                </c:pt>
                <c:pt idx="7">
                  <c:v>0.03856893139053536</c:v>
                </c:pt>
                <c:pt idx="8">
                  <c:v>0.03380352529095795</c:v>
                </c:pt>
                <c:pt idx="9">
                  <c:v>0.029747068930657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0.08987356498750043</c:v>
                </c:pt>
                <c:pt idx="1">
                  <c:v>0.05701087829728923</c:v>
                </c:pt>
                <c:pt idx="2">
                  <c:v>0.048270846143307906</c:v>
                </c:pt>
                <c:pt idx="3">
                  <c:v>0.047535414315797796</c:v>
                </c:pt>
                <c:pt idx="4">
                  <c:v>0.047257321280725295</c:v>
                </c:pt>
                <c:pt idx="5">
                  <c:v>0.04392436046838181</c:v>
                </c:pt>
                <c:pt idx="6">
                  <c:v>0.03343894441984366</c:v>
                </c:pt>
                <c:pt idx="7">
                  <c:v>0.031372698233462094</c:v>
                </c:pt>
                <c:pt idx="8">
                  <c:v>0.030236316496386584</c:v>
                </c:pt>
                <c:pt idx="9">
                  <c:v>0.0270494156840979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0.0821700778206103</c:v>
                </c:pt>
                <c:pt idx="5">
                  <c:v>0.04943173935916712</c:v>
                </c:pt>
                <c:pt idx="6">
                  <c:v>0.03712488595989236</c:v>
                </c:pt>
                <c:pt idx="7">
                  <c:v>0.035618545373021636</c:v>
                </c:pt>
                <c:pt idx="8">
                  <c:v>0.017627533859832855</c:v>
                </c:pt>
                <c:pt idx="9">
                  <c:v>0.01437601989350781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0.09115862068329088</c:v>
                </c:pt>
                <c:pt idx="1">
                  <c:v>0.052777759695425426</c:v>
                </c:pt>
                <c:pt idx="2">
                  <c:v>0.05048588082252944</c:v>
                </c:pt>
                <c:pt idx="3">
                  <c:v>0.04689592020995284</c:v>
                </c:pt>
                <c:pt idx="4">
                  <c:v>0.04297850209505591</c:v>
                </c:pt>
                <c:pt idx="5">
                  <c:v>0.03691654553120164</c:v>
                </c:pt>
                <c:pt idx="6">
                  <c:v>0.03488546057239265</c:v>
                </c:pt>
                <c:pt idx="7">
                  <c:v>0.034615485714267105</c:v>
                </c:pt>
                <c:pt idx="8">
                  <c:v>0.0272239727168195</c:v>
                </c:pt>
                <c:pt idx="9">
                  <c:v>0.02655457311819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0.052764363981338075</c:v>
                </c:pt>
                <c:pt idx="1">
                  <c:v>0.04973185638791052</c:v>
                </c:pt>
                <c:pt idx="2">
                  <c:v>0.0443844195595146</c:v>
                </c:pt>
                <c:pt idx="3">
                  <c:v>0.04393360972656847</c:v>
                </c:pt>
                <c:pt idx="4">
                  <c:v>0.03619351491642157</c:v>
                </c:pt>
                <c:pt idx="5">
                  <c:v>0.03364320629230407</c:v>
                </c:pt>
                <c:pt idx="6">
                  <c:v>0.031211872174252794</c:v>
                </c:pt>
                <c:pt idx="7">
                  <c:v>0.02508882296671457</c:v>
                </c:pt>
                <c:pt idx="8">
                  <c:v>0.022507596354897113</c:v>
                </c:pt>
                <c:pt idx="9">
                  <c:v>0.0220160883189938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0.044298274899283244</c:v>
                </c:pt>
                <c:pt idx="1">
                  <c:v>0.043684856398885884</c:v>
                </c:pt>
                <c:pt idx="2">
                  <c:v>0.04223587128114111</c:v>
                </c:pt>
                <c:pt idx="3">
                  <c:v>0.03301380518785004</c:v>
                </c:pt>
                <c:pt idx="4">
                  <c:v>0.03015244370917028</c:v>
                </c:pt>
                <c:pt idx="5">
                  <c:v>0.028492416065854894</c:v>
                </c:pt>
                <c:pt idx="6">
                  <c:v>0.028409628608619383</c:v>
                </c:pt>
                <c:pt idx="7">
                  <c:v>0.026950863147058236</c:v>
                </c:pt>
                <c:pt idx="8">
                  <c:v>0.02304954302125537</c:v>
                </c:pt>
                <c:pt idx="9">
                  <c:v>0.022967657043766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0.05906202007317268</c:v>
                </c:pt>
                <c:pt idx="1">
                  <c:v>0.048277308074521595</c:v>
                </c:pt>
                <c:pt idx="2">
                  <c:v>0.03925866064557859</c:v>
                </c:pt>
                <c:pt idx="3">
                  <c:v>0.03867819064914911</c:v>
                </c:pt>
                <c:pt idx="4">
                  <c:v>0.034170669834212665</c:v>
                </c:pt>
                <c:pt idx="5">
                  <c:v>0.033354372258553824</c:v>
                </c:pt>
                <c:pt idx="6">
                  <c:v>0.031097474581553052</c:v>
                </c:pt>
                <c:pt idx="7">
                  <c:v>0.026675311107309658</c:v>
                </c:pt>
                <c:pt idx="8">
                  <c:v>0.022859280685047105</c:v>
                </c:pt>
                <c:pt idx="9">
                  <c:v>0.0228385273974110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53281690915798006</c:v>
                </c:pt>
                <c:pt idx="1">
                  <c:v>0.04760057084803156</c:v>
                </c:pt>
                <c:pt idx="2">
                  <c:v>0.045634874274071466</c:v>
                </c:pt>
                <c:pt idx="3">
                  <c:v>0.04465906039558162</c:v>
                </c:pt>
                <c:pt idx="4">
                  <c:v>0.040979267293356915</c:v>
                </c:pt>
                <c:pt idx="5">
                  <c:v>0.03431708150840957</c:v>
                </c:pt>
                <c:pt idx="6">
                  <c:v>0.03341988816754294</c:v>
                </c:pt>
                <c:pt idx="7">
                  <c:v>0.03102634423658843</c:v>
                </c:pt>
                <c:pt idx="8">
                  <c:v>0.030328134187354593</c:v>
                </c:pt>
                <c:pt idx="9">
                  <c:v>0.0265473500285137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0.06398482606169437</c:v>
                </c:pt>
                <c:pt idx="1">
                  <c:v>0.040776820242691116</c:v>
                </c:pt>
                <c:pt idx="2">
                  <c:v>0.04000798943687101</c:v>
                </c:pt>
                <c:pt idx="3">
                  <c:v>0.03580692150186141</c:v>
                </c:pt>
                <c:pt idx="4">
                  <c:v>0.03419343340238051</c:v>
                </c:pt>
                <c:pt idx="5">
                  <c:v>0.03028759184954821</c:v>
                </c:pt>
                <c:pt idx="6">
                  <c:v>0.029544433675126006</c:v>
                </c:pt>
                <c:pt idx="7">
                  <c:v>0.026942846505395107</c:v>
                </c:pt>
                <c:pt idx="8">
                  <c:v>0.02665157770562122</c:v>
                </c:pt>
                <c:pt idx="9">
                  <c:v>0.0263943592485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0.05523837608935583</c:v>
                </c:pt>
                <c:pt idx="1">
                  <c:v>0.05033793030025845</c:v>
                </c:pt>
                <c:pt idx="2">
                  <c:v>0.042131151655572435</c:v>
                </c:pt>
                <c:pt idx="3">
                  <c:v>0.03935851949699886</c:v>
                </c:pt>
                <c:pt idx="4">
                  <c:v>0.036861406635885975</c:v>
                </c:pt>
                <c:pt idx="5">
                  <c:v>0.029644020584365455</c:v>
                </c:pt>
                <c:pt idx="6">
                  <c:v>0.02779669027701887</c:v>
                </c:pt>
                <c:pt idx="7">
                  <c:v>0.02592692649048855</c:v>
                </c:pt>
                <c:pt idx="8">
                  <c:v>0.02563604346469732</c:v>
                </c:pt>
                <c:pt idx="9">
                  <c:v>0.02273577215699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0.07414371993794372</c:v>
                </c:pt>
                <c:pt idx="1">
                  <c:v>0.06622595724572171</c:v>
                </c:pt>
                <c:pt idx="2">
                  <c:v>0.041995159573785024</c:v>
                </c:pt>
                <c:pt idx="3">
                  <c:v>0.0392189991056703</c:v>
                </c:pt>
                <c:pt idx="4">
                  <c:v>0.03797203976308429</c:v>
                </c:pt>
                <c:pt idx="5">
                  <c:v>0.029740288658967187</c:v>
                </c:pt>
                <c:pt idx="6">
                  <c:v>0.025011107275159216</c:v>
                </c:pt>
                <c:pt idx="7">
                  <c:v>0.024693225160632378</c:v>
                </c:pt>
                <c:pt idx="8">
                  <c:v>0.023015221928101168</c:v>
                </c:pt>
                <c:pt idx="9">
                  <c:v>0.0229207244188554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0.0845356158045956</c:v>
                </c:pt>
                <c:pt idx="1">
                  <c:v>0.05806861625413575</c:v>
                </c:pt>
                <c:pt idx="2">
                  <c:v>0.05072387328314927</c:v>
                </c:pt>
                <c:pt idx="3">
                  <c:v>0.05030540591358523</c:v>
                </c:pt>
                <c:pt idx="4">
                  <c:v>0.04443098051236295</c:v>
                </c:pt>
                <c:pt idx="5">
                  <c:v>0.035944711998911215</c:v>
                </c:pt>
                <c:pt idx="6">
                  <c:v>0.030701374570999116</c:v>
                </c:pt>
                <c:pt idx="7">
                  <c:v>0.027181255741555162</c:v>
                </c:pt>
                <c:pt idx="8">
                  <c:v>0.02406357997801477</c:v>
                </c:pt>
                <c:pt idx="9">
                  <c:v>0.0230979809875742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0.05848825618810228</c:v>
                </c:pt>
                <c:pt idx="1">
                  <c:v>0.045263689459973874</c:v>
                </c:pt>
                <c:pt idx="2">
                  <c:v>0.043570984590371536</c:v>
                </c:pt>
                <c:pt idx="3">
                  <c:v>0.03362560788457837</c:v>
                </c:pt>
                <c:pt idx="4">
                  <c:v>0.03319455558469224</c:v>
                </c:pt>
                <c:pt idx="5">
                  <c:v>0.03181474416035885</c:v>
                </c:pt>
                <c:pt idx="6">
                  <c:v>0.0317562120631409</c:v>
                </c:pt>
                <c:pt idx="7">
                  <c:v>0.031228250668144417</c:v>
                </c:pt>
                <c:pt idx="8">
                  <c:v>0.028068714535941536</c:v>
                </c:pt>
                <c:pt idx="9">
                  <c:v>0.0263941175553573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0.0844567198087908</c:v>
                </c:pt>
                <c:pt idx="4">
                  <c:v>0.08080039023015635</c:v>
                </c:pt>
                <c:pt idx="5">
                  <c:v>0.03679039319897819</c:v>
                </c:pt>
                <c:pt idx="6">
                  <c:v>0.030543237303960143</c:v>
                </c:pt>
                <c:pt idx="7">
                  <c:v>0.027259609105778432</c:v>
                </c:pt>
                <c:pt idx="8">
                  <c:v>0.021264938511112892</c:v>
                </c:pt>
                <c:pt idx="9">
                  <c:v>0.0158493324602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0.06362894210054433</c:v>
                </c:pt>
                <c:pt idx="1">
                  <c:v>0.04601708748022469</c:v>
                </c:pt>
                <c:pt idx="2">
                  <c:v>0.04601337525124857</c:v>
                </c:pt>
                <c:pt idx="3">
                  <c:v>0.043930153490286145</c:v>
                </c:pt>
                <c:pt idx="4">
                  <c:v>0.042120350833789136</c:v>
                </c:pt>
                <c:pt idx="5">
                  <c:v>0.03279485559417497</c:v>
                </c:pt>
                <c:pt idx="6">
                  <c:v>0.026460673076772814</c:v>
                </c:pt>
                <c:pt idx="7">
                  <c:v>0.026017377040847455</c:v>
                </c:pt>
                <c:pt idx="8">
                  <c:v>0.024110818985515654</c:v>
                </c:pt>
                <c:pt idx="9">
                  <c:v>0.0230086768529282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0.05175901456131057</c:v>
                </c:pt>
                <c:pt idx="1">
                  <c:v>0.047436447963763596</c:v>
                </c:pt>
                <c:pt idx="2">
                  <c:v>0.038097849548098556</c:v>
                </c:pt>
                <c:pt idx="3">
                  <c:v>0.037728919705332264</c:v>
                </c:pt>
                <c:pt idx="4">
                  <c:v>0.034516115830608124</c:v>
                </c:pt>
                <c:pt idx="5">
                  <c:v>0.03304118957325288</c:v>
                </c:pt>
                <c:pt idx="6">
                  <c:v>0.029589871604121847</c:v>
                </c:pt>
                <c:pt idx="7">
                  <c:v>0.02539543304463991</c:v>
                </c:pt>
                <c:pt idx="8">
                  <c:v>0.024315825001161164</c:v>
                </c:pt>
                <c:pt idx="9">
                  <c:v>0.0211507905523571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0.06295058745963751</c:v>
                </c:pt>
                <c:pt idx="1">
                  <c:v>0.04629493546206942</c:v>
                </c:pt>
                <c:pt idx="2">
                  <c:v>0.040871877572981</c:v>
                </c:pt>
                <c:pt idx="3">
                  <c:v>0.03707045741088785</c:v>
                </c:pt>
                <c:pt idx="4">
                  <c:v>0.0351086284202828</c:v>
                </c:pt>
                <c:pt idx="5">
                  <c:v>0.029362402054029374</c:v>
                </c:pt>
                <c:pt idx="6">
                  <c:v>0.027225710328330547</c:v>
                </c:pt>
                <c:pt idx="7">
                  <c:v>0.02674507893810186</c:v>
                </c:pt>
                <c:pt idx="8">
                  <c:v>0.02640198287171708</c:v>
                </c:pt>
                <c:pt idx="9">
                  <c:v>0.0231400069615285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0.06528409309001838</c:v>
                </c:pt>
                <c:pt idx="1">
                  <c:v>0.06392509905563648</c:v>
                </c:pt>
                <c:pt idx="2">
                  <c:v>0.05136325900232054</c:v>
                </c:pt>
                <c:pt idx="3">
                  <c:v>0.047417335557088346</c:v>
                </c:pt>
                <c:pt idx="4">
                  <c:v>0.03681135390172226</c:v>
                </c:pt>
                <c:pt idx="5">
                  <c:v>0.025993260146093634</c:v>
                </c:pt>
                <c:pt idx="6">
                  <c:v>0.02598784960646762</c:v>
                </c:pt>
                <c:pt idx="7">
                  <c:v>0.025521336577301032</c:v>
                </c:pt>
                <c:pt idx="8">
                  <c:v>0.024772966566540853</c:v>
                </c:pt>
                <c:pt idx="9">
                  <c:v>0.0229774232005654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0.07463396255010352</c:v>
                </c:pt>
                <c:pt idx="1">
                  <c:v>0.0537133596311883</c:v>
                </c:pt>
                <c:pt idx="2">
                  <c:v>0.048350548056236134</c:v>
                </c:pt>
                <c:pt idx="3">
                  <c:v>0.047490968190448755</c:v>
                </c:pt>
                <c:pt idx="4">
                  <c:v>0.043283111313024085</c:v>
                </c:pt>
                <c:pt idx="5">
                  <c:v>0.03381056198082118</c:v>
                </c:pt>
                <c:pt idx="6">
                  <c:v>0.03031971595930754</c:v>
                </c:pt>
                <c:pt idx="7">
                  <c:v>0.028952797442190665</c:v>
                </c:pt>
                <c:pt idx="8">
                  <c:v>0.02541560313038283</c:v>
                </c:pt>
                <c:pt idx="9">
                  <c:v>0.024375622401060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0.05665503948084716</c:v>
                </c:pt>
                <c:pt idx="1">
                  <c:v>0.0514122369289738</c:v>
                </c:pt>
                <c:pt idx="2">
                  <c:v>0.035789413457417485</c:v>
                </c:pt>
                <c:pt idx="3">
                  <c:v>0.03491827855866699</c:v>
                </c:pt>
                <c:pt idx="4">
                  <c:v>0.03326294219767089</c:v>
                </c:pt>
                <c:pt idx="5">
                  <c:v>0.03286261021660517</c:v>
                </c:pt>
                <c:pt idx="6">
                  <c:v>0.026755850881395912</c:v>
                </c:pt>
                <c:pt idx="7">
                  <c:v>0.025700218383570634</c:v>
                </c:pt>
                <c:pt idx="8">
                  <c:v>0.024825838312382557</c:v>
                </c:pt>
                <c:pt idx="9">
                  <c:v>0.0229554320192075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0.057539424237003034</c:v>
                </c:pt>
                <c:pt idx="1">
                  <c:v>0.050236212544978225</c:v>
                </c:pt>
                <c:pt idx="2">
                  <c:v>0.03596693950808687</c:v>
                </c:pt>
                <c:pt idx="3">
                  <c:v>0.035037252568875</c:v>
                </c:pt>
                <c:pt idx="4">
                  <c:v>0.03186093762736625</c:v>
                </c:pt>
                <c:pt idx="5">
                  <c:v>0.03131043450496694</c:v>
                </c:pt>
                <c:pt idx="6">
                  <c:v>0.026815576446658353</c:v>
                </c:pt>
                <c:pt idx="7">
                  <c:v>0.024572895413644838</c:v>
                </c:pt>
                <c:pt idx="8">
                  <c:v>0.024317988632890555</c:v>
                </c:pt>
                <c:pt idx="9">
                  <c:v>0.0239848313731944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0.058996316216983785</c:v>
                </c:pt>
                <c:pt idx="1">
                  <c:v>0.0488253826809377</c:v>
                </c:pt>
                <c:pt idx="2">
                  <c:v>0.03526588368369988</c:v>
                </c:pt>
                <c:pt idx="3">
                  <c:v>0.03484522746606058</c:v>
                </c:pt>
                <c:pt idx="4">
                  <c:v>0.03421815467359972</c:v>
                </c:pt>
                <c:pt idx="5">
                  <c:v>0.03188092706906488</c:v>
                </c:pt>
                <c:pt idx="6">
                  <c:v>0.03055308787235019</c:v>
                </c:pt>
                <c:pt idx="7">
                  <c:v>0.026409795455431782</c:v>
                </c:pt>
                <c:pt idx="8">
                  <c:v>0.02538072048051331</c:v>
                </c:pt>
                <c:pt idx="9">
                  <c:v>0.025163465701279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0.06014501610673746</c:v>
                </c:pt>
                <c:pt idx="1">
                  <c:v>0.049147483560224595</c:v>
                </c:pt>
                <c:pt idx="2">
                  <c:v>0.03798111152948848</c:v>
                </c:pt>
                <c:pt idx="3">
                  <c:v>0.0351473347396636</c:v>
                </c:pt>
                <c:pt idx="4">
                  <c:v>0.03260164594749842</c:v>
                </c:pt>
                <c:pt idx="5">
                  <c:v>0.026198632572604418</c:v>
                </c:pt>
                <c:pt idx="6">
                  <c:v>0.024840849764281064</c:v>
                </c:pt>
                <c:pt idx="7">
                  <c:v>0.022922358598463765</c:v>
                </c:pt>
                <c:pt idx="8">
                  <c:v>0.021946727803076858</c:v>
                </c:pt>
                <c:pt idx="9">
                  <c:v>0.0209408928920591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0.0761995349168264</c:v>
                </c:pt>
                <c:pt idx="2">
                  <c:v>0.062257319426976654</c:v>
                </c:pt>
                <c:pt idx="3">
                  <c:v>0.060859817701523586</c:v>
                </c:pt>
                <c:pt idx="4">
                  <c:v>0.059152642340712026</c:v>
                </c:pt>
                <c:pt idx="5">
                  <c:v>0.05485206507442685</c:v>
                </c:pt>
                <c:pt idx="6">
                  <c:v>0.047880406685733</c:v>
                </c:pt>
                <c:pt idx="7">
                  <c:v>0.0473548729625391</c:v>
                </c:pt>
                <c:pt idx="8">
                  <c:v>0.04682994573019621</c:v>
                </c:pt>
                <c:pt idx="9">
                  <c:v>0.036841819859803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8</c:v>
                </c:pt>
                <c:pt idx="1">
                  <c:v>0.3180072820653932</c:v>
                </c:pt>
                <c:pt idx="2">
                  <c:v>0.09002885890018456</c:v>
                </c:pt>
                <c:pt idx="3">
                  <c:v>0.08924476505635519</c:v>
                </c:pt>
                <c:pt idx="4">
                  <c:v>0.02381500687340326</c:v>
                </c:pt>
                <c:pt idx="5">
                  <c:v>0.019273141062789715</c:v>
                </c:pt>
                <c:pt idx="6">
                  <c:v>0.012094055220694773</c:v>
                </c:pt>
                <c:pt idx="7">
                  <c:v>0.010430343104540026</c:v>
                </c:pt>
                <c:pt idx="8">
                  <c:v>0.008159248034810199</c:v>
                </c:pt>
                <c:pt idx="9">
                  <c:v>0.00512439490348850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0.08863057451967137</c:v>
                </c:pt>
                <c:pt idx="2">
                  <c:v>0.05706028617160461</c:v>
                </c:pt>
                <c:pt idx="3">
                  <c:v>0.05597450451636069</c:v>
                </c:pt>
                <c:pt idx="4">
                  <c:v>0.05526817252204414</c:v>
                </c:pt>
                <c:pt idx="5">
                  <c:v>0.05349422691817945</c:v>
                </c:pt>
                <c:pt idx="6">
                  <c:v>0.04863996943716951</c:v>
                </c:pt>
                <c:pt idx="7">
                  <c:v>0.04042808489294249</c:v>
                </c:pt>
                <c:pt idx="8">
                  <c:v>0.03998444715030916</c:v>
                </c:pt>
                <c:pt idx="9">
                  <c:v>0.039039359929246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0.09482743281088585</c:v>
                </c:pt>
                <c:pt idx="1">
                  <c:v>0.09394249001064445</c:v>
                </c:pt>
                <c:pt idx="2">
                  <c:v>0.06727477727402224</c:v>
                </c:pt>
                <c:pt idx="3">
                  <c:v>0.06253458794907056</c:v>
                </c:pt>
                <c:pt idx="4">
                  <c:v>0.05286870847354374</c:v>
                </c:pt>
                <c:pt idx="5">
                  <c:v>0.04466098791347525</c:v>
                </c:pt>
                <c:pt idx="6">
                  <c:v>0.04032669096464001</c:v>
                </c:pt>
                <c:pt idx="7">
                  <c:v>0.03619516806174685</c:v>
                </c:pt>
                <c:pt idx="8">
                  <c:v>0.03497700405162365</c:v>
                </c:pt>
                <c:pt idx="9">
                  <c:v>0.03489477571079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0.07599572820866267</c:v>
                </c:pt>
                <c:pt idx="1">
                  <c:v>0.06974659760101957</c:v>
                </c:pt>
                <c:pt idx="2">
                  <c:v>0.06764548213420091</c:v>
                </c:pt>
                <c:pt idx="3">
                  <c:v>0.05288834821977286</c:v>
                </c:pt>
                <c:pt idx="4">
                  <c:v>0.044856347890915076</c:v>
                </c:pt>
                <c:pt idx="5">
                  <c:v>0.03671831974789395</c:v>
                </c:pt>
                <c:pt idx="6">
                  <c:v>0.0334913291301794</c:v>
                </c:pt>
                <c:pt idx="7">
                  <c:v>0.03255910769718426</c:v>
                </c:pt>
                <c:pt idx="8">
                  <c:v>0.030311035980201864</c:v>
                </c:pt>
                <c:pt idx="9">
                  <c:v>0.0302518575139509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0.08476692990415803</c:v>
                </c:pt>
                <c:pt idx="1">
                  <c:v>0.05841353307362125</c:v>
                </c:pt>
                <c:pt idx="2">
                  <c:v>0.057940451598839024</c:v>
                </c:pt>
                <c:pt idx="3">
                  <c:v>0.052749366752639484</c:v>
                </c:pt>
                <c:pt idx="4">
                  <c:v>0.048640931710254826</c:v>
                </c:pt>
                <c:pt idx="5">
                  <c:v>0.04365702138727362</c:v>
                </c:pt>
                <c:pt idx="6">
                  <c:v>0.04158796098092672</c:v>
                </c:pt>
                <c:pt idx="7">
                  <c:v>0.04080076771528766</c:v>
                </c:pt>
                <c:pt idx="8">
                  <c:v>0.040465583355207314</c:v>
                </c:pt>
                <c:pt idx="9">
                  <c:v>0.037191810813536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0.08634064434873595</c:v>
                </c:pt>
                <c:pt idx="1">
                  <c:v>0.0537747626733734</c:v>
                </c:pt>
                <c:pt idx="2">
                  <c:v>0.05342830843874889</c:v>
                </c:pt>
                <c:pt idx="3">
                  <c:v>0.05310517256280898</c:v>
                </c:pt>
                <c:pt idx="4">
                  <c:v>0.052387807667733065</c:v>
                </c:pt>
                <c:pt idx="5">
                  <c:v>0.0491449094674413</c:v>
                </c:pt>
                <c:pt idx="6">
                  <c:v>0.04797165647729324</c:v>
                </c:pt>
                <c:pt idx="7">
                  <c:v>0.0427927413653497</c:v>
                </c:pt>
                <c:pt idx="8">
                  <c:v>0.03950852150780525</c:v>
                </c:pt>
                <c:pt idx="9">
                  <c:v>0.0319633767171603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0.08791723947848198</c:v>
                </c:pt>
                <c:pt idx="1">
                  <c:v>0.06540140845065068</c:v>
                </c:pt>
                <c:pt idx="2">
                  <c:v>0.062350071983045895</c:v>
                </c:pt>
                <c:pt idx="3">
                  <c:v>0.05175507290874672</c:v>
                </c:pt>
                <c:pt idx="4">
                  <c:v>0.04657849704252028</c:v>
                </c:pt>
                <c:pt idx="5">
                  <c:v>0.04304948089947866</c:v>
                </c:pt>
                <c:pt idx="6">
                  <c:v>0.039618329551060226</c:v>
                </c:pt>
                <c:pt idx="7">
                  <c:v>0.0359951218931837</c:v>
                </c:pt>
                <c:pt idx="8">
                  <c:v>0.03534568151076445</c:v>
                </c:pt>
                <c:pt idx="9">
                  <c:v>0.033818955502005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0.0936727097371996</c:v>
                </c:pt>
                <c:pt idx="1">
                  <c:v>0.06491730597262944</c:v>
                </c:pt>
                <c:pt idx="2">
                  <c:v>0.06227878497062303</c:v>
                </c:pt>
                <c:pt idx="3">
                  <c:v>0.059194937043228</c:v>
                </c:pt>
                <c:pt idx="4">
                  <c:v>0.0497197279995683</c:v>
                </c:pt>
                <c:pt idx="5">
                  <c:v>0.04618504463537188</c:v>
                </c:pt>
                <c:pt idx="6">
                  <c:v>0.03712353522906952</c:v>
                </c:pt>
                <c:pt idx="7">
                  <c:v>0.036396442299312055</c:v>
                </c:pt>
                <c:pt idx="8">
                  <c:v>0.033464308858378325</c:v>
                </c:pt>
                <c:pt idx="9">
                  <c:v>0.033276495574139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0.08909718852175433</c:v>
                </c:pt>
                <c:pt idx="2">
                  <c:v>0.06945294837248557</c:v>
                </c:pt>
                <c:pt idx="3">
                  <c:v>0.05810623257089627</c:v>
                </c:pt>
                <c:pt idx="4">
                  <c:v>0.05682847777005774</c:v>
                </c:pt>
                <c:pt idx="5">
                  <c:v>0.054483670319756886</c:v>
                </c:pt>
                <c:pt idx="6">
                  <c:v>0.05377571626055787</c:v>
                </c:pt>
                <c:pt idx="7">
                  <c:v>0.04841082026905976</c:v>
                </c:pt>
                <c:pt idx="8">
                  <c:v>0.04074976620486891</c:v>
                </c:pt>
                <c:pt idx="9">
                  <c:v>0.036342126336897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0.0863601298979738</c:v>
                </c:pt>
                <c:pt idx="2">
                  <c:v>0.0808445138448508</c:v>
                </c:pt>
                <c:pt idx="3">
                  <c:v>0.06875569767930173</c:v>
                </c:pt>
                <c:pt idx="4">
                  <c:v>0.04920819578909523</c:v>
                </c:pt>
                <c:pt idx="5">
                  <c:v>0.04637750836955284</c:v>
                </c:pt>
                <c:pt idx="6">
                  <c:v>0.045795813958569444</c:v>
                </c:pt>
                <c:pt idx="7">
                  <c:v>0.04427831348831617</c:v>
                </c:pt>
                <c:pt idx="8">
                  <c:v>0.04370973494149846</c:v>
                </c:pt>
                <c:pt idx="9">
                  <c:v>0.0398592240250036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0.08667293271596294</c:v>
                </c:pt>
                <c:pt idx="2">
                  <c:v>0.06755015756200082</c:v>
                </c:pt>
                <c:pt idx="3">
                  <c:v>0.061307064864021245</c:v>
                </c:pt>
                <c:pt idx="4">
                  <c:v>0.058558701974863216</c:v>
                </c:pt>
                <c:pt idx="5">
                  <c:v>0.051690130686359526</c:v>
                </c:pt>
                <c:pt idx="6">
                  <c:v>0.05068751452391275</c:v>
                </c:pt>
                <c:pt idx="7">
                  <c:v>0.0475073142167179</c:v>
                </c:pt>
                <c:pt idx="8">
                  <c:v>0.04736657296672228</c:v>
                </c:pt>
                <c:pt idx="9">
                  <c:v>0.04064275098733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0.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40.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2.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3.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4.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 Id="rId3" Type="http://schemas.openxmlformats.org/officeDocument/2006/relationships/chart" Target="../charts/chart1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Manual Shave M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87055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55952888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43787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42601962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3896395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8858750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206400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9160394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145511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105365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20644526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236957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7969194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7006573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3258441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19998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4238418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691331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811043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65280483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1674373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345776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235909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84750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2973140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5130374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102209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68612552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92582080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63580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6838928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0431359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9426251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970416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7610247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01829852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547693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8920665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6954213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
        <p:nvSpPr>
          <p:cNvPr id="22" name="Rectangle 21"/>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492320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0529234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
        <p:nvSpPr>
          <p:cNvPr id="22" name="Rectangle 21"/>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14616582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6943141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9903324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498317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90427975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15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15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8528287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149666857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347431833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6.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258869718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299476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284361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1176363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20924124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3150669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797553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802167" y="3296306"/>
            <a:ext cx="4687628" cy="10348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296306"/>
            <a:ext cx="2343813" cy="1034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2343813" cy="2069672"/>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802167" y="1226634"/>
            <a:ext cx="4687628" cy="2069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5459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220299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41516635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891916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624433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803881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5195298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294300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3698982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187128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404220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12809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8760665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40140574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41523469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4952728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7477970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1305173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5017804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385601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591016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2463154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216214" y="2778888"/>
            <a:ext cx="5273581"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2778888"/>
            <a:ext cx="1757860"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1757860"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216214" y="1226634"/>
            <a:ext cx="5273581"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1614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34042846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1529153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24803994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560337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7593754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973730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13657974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1082411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0609926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939518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5877459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2500003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2075792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999988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0193516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4735674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41879832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0829209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3256815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7646955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934524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8161317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125302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34076898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9746971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9350205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5850050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9687256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1750045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12645205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6415190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443519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0846211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112684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297234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549692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18342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00533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159348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683607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169029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282979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38001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6117904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254051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53627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655731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311779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321880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540519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261283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513833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121791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28916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4249890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007304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821846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62841252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6183123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5923350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7271908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9234806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30595394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621843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43473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84</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24</cp:revision>
  <dcterms:created xsi:type="dcterms:W3CDTF">2024-07-08T12:09:12Z</dcterms:created>
  <dcterms:modified xsi:type="dcterms:W3CDTF">2025-08-25T20: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